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4"/>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int Comparison Analysis by Product Scraped" id="{F09F987B-8562-4C6C-95F1-5FC4B7B34030}">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Lst>
        </p14:section>
        <p14:section name="Price Point Comparison Analysis by Manuf Scraped" id="{A0A10AA9-42C9-4191-9E45-AFD685A897C2}">
          <p14:sldIdLst>
            <p14:sldId id="2147477379"/>
            <p14:sldId id="2147477380"/>
            <p14:sldId id="2147477381"/>
            <p14:sldId id="2147477382"/>
            <p14:sldId id="214747738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notesMaster" Target="notesMasters/notesMaster1.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6.78</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11.52</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26.97</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9.99</a:t>
                    </a:r>
                  </a:p>
                </c:rich>
              </c:tx>
              <c:showLegendKey val="0"/>
              <c:showVal val="1"/>
              <c:showCatName val="0"/>
              <c:showSerName val="0"/>
              <c:showPercent val="0"/>
              <c:showBubbleSize val="0"/>
            </c:dLbl>
            <c:dLbl>
              <c:idx val="9"/>
              <c:tx>
                <c:rich>
                  <a:bodyPr/>
                  <a:lstStyle/>
                  <a:p>
                    <a:r>
                      <a:t>11.52</a:t>
                    </a:r>
                  </a:p>
                </c:rich>
              </c:tx>
              <c:showLegendKey val="0"/>
              <c:showVal val="1"/>
              <c:showCatName val="0"/>
              <c:showSerName val="0"/>
              <c:showPercent val="0"/>
              <c:showBubbleSize val="0"/>
            </c:dLbl>
            <c:dLbl>
              <c:idx val="10"/>
              <c:tx>
                <c:rich>
                  <a:bodyPr/>
                  <a:lstStyle/>
                  <a:p>
                    <a:r>
                      <a:t>15.72</a:t>
                    </a:r>
                  </a:p>
                </c:rich>
              </c:tx>
              <c:showLegendKey val="0"/>
              <c:showVal val="1"/>
              <c:showCatName val="0"/>
              <c:showSerName val="0"/>
              <c:showPercent val="0"/>
              <c:showBubbleSize val="0"/>
            </c:dLbl>
            <c:dLbl>
              <c:idx val="11"/>
              <c:tx>
                <c:rich>
                  <a:bodyPr/>
                  <a:lstStyle/>
                  <a:p>
                    <a:r>
                      <a:t>27.75</a:t>
                    </a:r>
                  </a:p>
                </c:rich>
              </c:tx>
              <c:showLegendKey val="0"/>
              <c:showVal val="1"/>
              <c:showCatName val="0"/>
              <c:showSerName val="0"/>
              <c:showPercent val="0"/>
              <c:showBubbleSize val="0"/>
            </c:dLbl>
            <c:dLbl>
              <c:idx val="12"/>
              <c:tx>
                <c:rich>
                  <a:bodyPr/>
                  <a:lstStyle/>
                  <a:p>
                    <a:r>
                      <a:t>6.78</a:t>
                    </a:r>
                  </a:p>
                </c:rich>
              </c:tx>
              <c:showLegendKey val="0"/>
              <c:showVal val="1"/>
              <c:showCatName val="0"/>
              <c:showSerName val="0"/>
              <c:showPercent val="0"/>
              <c:showBubbleSize val="0"/>
            </c:dLbl>
            <c:dLbl>
              <c:idx val="13"/>
              <c:tx>
                <c:rich>
                  <a:bodyPr/>
                  <a:lstStyle/>
                  <a:p>
                    <a:r>
                      <a:t>11.29</a:t>
                    </a:r>
                  </a:p>
                </c:rich>
              </c:tx>
              <c:showLegendKey val="0"/>
              <c:showVal val="1"/>
              <c:showCatName val="0"/>
              <c:showSerName val="0"/>
              <c:showPercent val="0"/>
              <c:showBubbleSize val="0"/>
            </c:dLbl>
            <c:dLbl>
              <c:idx val="14"/>
              <c:tx>
                <c:rich>
                  <a:bodyPr/>
                  <a:lstStyle/>
                  <a:p>
                    <a:r>
                      <a:t>4.1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HYDRO 5 SENSITIVE 5 BLADE REFILL SENSITIVE 6CT</c:v>
                </c:pt>
                <c:pt idx="3">
                  <c:v>SCHICK XTREME 3 SENSITIVE GREEN 3 BLADE DISPOSABLE SENSITIVE 8CT</c:v>
                </c:pt>
                <c:pt idx="4">
                  <c:v>HYDRO 5 SENSITIVE 5 BLADE RAZOR SENSITIVE 3CT</c:v>
                </c:pt>
                <c:pt idx="5">
                  <c:v>HYDRO 5 SENSITIVE 5 BLADE REFILL SENSITIVE 12CT</c:v>
                </c:pt>
                <c:pt idx="6">
                  <c:v>SCHICK XTREME 3 SENSITIVE BLACK GREEN 3 BLADE DISPOSABLE SENSITIVE 12CT</c:v>
                </c:pt>
                <c:pt idx="7">
                  <c:v>SCHICK XTREME 3 SENSITIVE GREEN BLACK 3 BLADE DISPOSABLE SENSITIVE 4CT</c:v>
                </c:pt>
                <c:pt idx="8">
                  <c:v>SCHICK HYDRO 3 SENSITIVE 3 BLADE RAZOR SENSITIVE 4CT</c:v>
                </c:pt>
                <c:pt idx="9">
                  <c:v>SCHICK XTREME 3 SENSITIVE GREEN BLACK 3 BLADE DISPOSABLE SENSITIVE 8CT</c:v>
                </c:pt>
                <c:pt idx="10">
                  <c:v>SCHICK XTREME 3 SENSITIVE GREEN BLACK 3 BLADE DISPOSABLE SENSITIVE 12CT</c:v>
                </c:pt>
                <c:pt idx="11">
                  <c:v>HYDRO 5 DRY SKIN 5 BLADE RAZOR DRY 17CT</c:v>
                </c:pt>
                <c:pt idx="12">
                  <c:v>SCHICK XTREME 3 3 BLADE DISPOSABLE SENSITIVE 6CT</c:v>
                </c:pt>
                <c:pt idx="13">
                  <c:v>BIC 3 SENSITIVE 3 BLADE DISPOSABLE NORMAL 12CT</c:v>
                </c:pt>
                <c:pt idx="14">
                  <c:v>BIC COMFORT 3 MULTI COLOR 3 BLADE DISPOSABLE SENSITIVE 4CT</c:v>
                </c:pt>
              </c:strCache>
            </c:strRef>
          </c:cat>
          <c:val>
            <c:numRef>
              <c:f>Sheet1!$B$2:$B$16</c:f>
              <c:numCache>
                <c:formatCode>General</c:formatCode>
                <c:ptCount val="15"/>
                <c:pt idx="0">
                  <c:v>6.78</c:v>
                </c:pt>
                <c:pt idx="1">
                  <c:v>6.78</c:v>
                </c:pt>
                <c:pt idx="2">
                  <c:v>14.97</c:v>
                </c:pt>
                <c:pt idx="3">
                  <c:v>11.52</c:v>
                </c:pt>
                <c:pt idx="4">
                  <c:v>9.97</c:v>
                </c:pt>
                <c:pt idx="5">
                  <c:v>26.97</c:v>
                </c:pt>
                <c:pt idx="6">
                  <c:v>15.72</c:v>
                </c:pt>
                <c:pt idx="7">
                  <c:v>6.78</c:v>
                </c:pt>
                <c:pt idx="8">
                  <c:v>9.99</c:v>
                </c:pt>
                <c:pt idx="9">
                  <c:v>11.52</c:v>
                </c:pt>
                <c:pt idx="10">
                  <c:v>15.72</c:v>
                </c:pt>
                <c:pt idx="11">
                  <c:v>27.75</c:v>
                </c:pt>
                <c:pt idx="12">
                  <c:v>6.78</c:v>
                </c:pt>
                <c:pt idx="13">
                  <c:v>11.29</c:v>
                </c:pt>
                <c:pt idx="14">
                  <c:v>4.1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97</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2.25</a:t>
                    </a:r>
                  </a:p>
                </c:rich>
              </c:tx>
              <c:showLegendKey val="0"/>
              <c:showVal val="1"/>
              <c:showCatName val="0"/>
              <c:showSerName val="0"/>
              <c:showPercent val="0"/>
              <c:showBubbleSize val="0"/>
            </c:dLbl>
            <c:dLbl>
              <c:idx val="3"/>
              <c:tx>
                <c:rich>
                  <a:bodyPr/>
                  <a:lstStyle/>
                  <a:p>
                    <a:r>
                      <a:t>13.97</a:t>
                    </a:r>
                  </a:p>
                </c:rich>
              </c:tx>
              <c:showLegendKey val="0"/>
              <c:showVal val="1"/>
              <c:showCatName val="0"/>
              <c:showSerName val="0"/>
              <c:showPercent val="0"/>
              <c:showBubbleSize val="0"/>
            </c:dLbl>
            <c:dLbl>
              <c:idx val="4"/>
              <c:tx>
                <c:rich>
                  <a:bodyPr/>
                  <a:lstStyle/>
                  <a:p>
                    <a:r>
                      <a:t>29.97</a:t>
                    </a:r>
                  </a:p>
                </c:rich>
              </c:tx>
              <c:showLegendKey val="0"/>
              <c:showVal val="1"/>
              <c:showCatName val="0"/>
              <c:showSerName val="0"/>
              <c:showPercent val="0"/>
              <c:showBubbleSize val="0"/>
            </c:dLbl>
            <c:dLbl>
              <c:idx val="5"/>
              <c:tx>
                <c:rich>
                  <a:bodyPr/>
                  <a:lstStyle/>
                  <a:p>
                    <a:r>
                      <a:t>13.97</a:t>
                    </a:r>
                  </a:p>
                </c:rich>
              </c:tx>
              <c:showLegendKey val="0"/>
              <c:showVal val="1"/>
              <c:showCatName val="0"/>
              <c:showSerName val="0"/>
              <c:showPercent val="0"/>
              <c:showBubbleSize val="0"/>
            </c:dLbl>
            <c:dLbl>
              <c:idx val="6"/>
              <c:tx>
                <c:rich>
                  <a:bodyPr/>
                  <a:lstStyle/>
                  <a:p>
                    <a:r>
                      <a:t>16.97</a:t>
                    </a:r>
                  </a:p>
                </c:rich>
              </c:tx>
              <c:showLegendKey val="0"/>
              <c:showVal val="1"/>
              <c:showCatName val="0"/>
              <c:showSerName val="0"/>
              <c:showPercent val="0"/>
              <c:showBubbleSize val="0"/>
            </c:dLbl>
            <c:dLbl>
              <c:idx val="7"/>
              <c:tx>
                <c:rich>
                  <a:bodyPr/>
                  <a:lstStyle/>
                  <a:p>
                    <a:r>
                      <a:t>29.97</a:t>
                    </a:r>
                  </a:p>
                </c:rich>
              </c:tx>
              <c:showLegendKey val="0"/>
              <c:showVal val="1"/>
              <c:showCatName val="0"/>
              <c:showSerName val="0"/>
              <c:showPercent val="0"/>
              <c:showBubbleSize val="0"/>
            </c:dLbl>
            <c:dLbl>
              <c:idx val="8"/>
              <c:tx>
                <c:rich>
                  <a:bodyPr/>
                  <a:lstStyle/>
                  <a:p>
                    <a:r>
                      <a:t>16.97</a:t>
                    </a:r>
                  </a:p>
                </c:rich>
              </c:tx>
              <c:showLegendKey val="0"/>
              <c:showVal val="1"/>
              <c:showCatName val="0"/>
              <c:showSerName val="0"/>
              <c:showPercent val="0"/>
              <c:showBubbleSize val="0"/>
            </c:dLbl>
            <c:dLbl>
              <c:idx val="9"/>
              <c:tx>
                <c:rich>
                  <a:bodyPr/>
                  <a:lstStyle/>
                  <a:p>
                    <a:r>
                      <a:t>45.67</a:t>
                    </a:r>
                  </a:p>
                </c:rich>
              </c:tx>
              <c:showLegendKey val="0"/>
              <c:showVal val="1"/>
              <c:showCatName val="0"/>
              <c:showSerName val="0"/>
              <c:showPercent val="0"/>
              <c:showBubbleSize val="0"/>
            </c:dLbl>
            <c:dLbl>
              <c:idx val="10"/>
              <c:tx>
                <c:rich>
                  <a:bodyPr/>
                  <a:lstStyle/>
                  <a:p>
                    <a:r>
                      <a:t>13.97</a:t>
                    </a:r>
                  </a:p>
                </c:rich>
              </c:tx>
              <c:showLegendKey val="0"/>
              <c:showVal val="1"/>
              <c:showCatName val="0"/>
              <c:showSerName val="0"/>
              <c:showPercent val="0"/>
              <c:showBubbleSize val="0"/>
            </c:dLbl>
            <c:dLbl>
              <c:idx val="11"/>
              <c:tx>
                <c:rich>
                  <a:bodyPr/>
                  <a:lstStyle/>
                  <a:p>
                    <a:r>
                      <a:t>17.9</a:t>
                    </a:r>
                  </a:p>
                </c:rich>
              </c:tx>
              <c:showLegendKey val="0"/>
              <c:showVal val="1"/>
              <c:showCatName val="0"/>
              <c:showSerName val="0"/>
              <c:showPercent val="0"/>
              <c:showBubbleSize val="0"/>
            </c:dLbl>
            <c:dLbl>
              <c:idx val="12"/>
              <c:tx>
                <c:rich>
                  <a:bodyPr/>
                  <a:lstStyle/>
                  <a:p>
                    <a:r>
                      <a:t>17.24</a:t>
                    </a:r>
                  </a:p>
                </c:rich>
              </c:tx>
              <c:showLegendKey val="0"/>
              <c:showVal val="1"/>
              <c:showCatName val="0"/>
              <c:showSerName val="0"/>
              <c:showPercent val="0"/>
              <c:showBubbleSize val="0"/>
            </c:dLbl>
            <c:dLbl>
              <c:idx val="13"/>
              <c:tx>
                <c:rich>
                  <a:bodyPr/>
                  <a:lstStyle/>
                  <a:p>
                    <a:r>
                      <a:t>1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AZOR NORMAL 2CT</c:v>
                </c:pt>
                <c:pt idx="1">
                  <c:v>DOLLAR SHAVE CLUB BLACK 6 BLADE RAZOR NORMAL 2CT</c:v>
                </c:pt>
                <c:pt idx="2">
                  <c:v>GILLETTE FUSION 5 5 BLADE RAZOR NORMAL 1CT</c:v>
                </c:pt>
                <c:pt idx="3">
                  <c:v>GILLETTE FUSION 5 5 BLADE RAZOR NORMAL 2CT</c:v>
                </c:pt>
                <c:pt idx="4">
                  <c:v>GILLETTE FUSION 5 5 BLADE RAZOR NORMAL 7CT</c:v>
                </c:pt>
                <c:pt idx="5">
                  <c:v>GILLETTE FUSION 5 PROGLIDE 5 BLADE RAZOR NORMAL 1CT</c:v>
                </c:pt>
                <c:pt idx="6">
                  <c:v>GILLETTE FUSION 5 PROGLIDE 5 BLADE RAZOR NORMAL 2CT</c:v>
                </c:pt>
                <c:pt idx="7">
                  <c:v>GILLETTE FUSION 5 PROGLIDE STYLER REM BLADES RAZOR 1CT</c:v>
                </c:pt>
                <c:pt idx="8">
                  <c:v>GILLETTE FUSION 5 PROSHIELD 5 BLADE RAZOR NORMAL 1CT</c:v>
                </c:pt>
                <c:pt idx="9">
                  <c:v>GILLETTE FUSION 5 PROSHIELD 5 BLADE RAZOR NORMAL 8CT</c:v>
                </c:pt>
                <c:pt idx="10">
                  <c:v>GILLETTE FUSION 5 PROSHIELD GRAY 5 BLADE RAZOR NORMAL 2CT</c:v>
                </c:pt>
                <c:pt idx="11">
                  <c:v>GILLETTE INTIMATE BLACK 5 BLADE RAZOR NORMAL 2CT</c:v>
                </c:pt>
                <c:pt idx="12">
                  <c:v>GILLETTE LABS 5 BLADE RAZOR NORMAL 1CT</c:v>
                </c:pt>
                <c:pt idx="13">
                  <c:v>GILLETTE LABS 5 BLADE RAZOR NORMAL 2CT</c:v>
                </c:pt>
              </c:strCache>
            </c:strRef>
          </c:cat>
          <c:val>
            <c:numRef>
              <c:f>Sheet1!$B$2:$B$16</c:f>
              <c:numCache>
                <c:formatCode>General</c:formatCode>
                <c:ptCount val="15"/>
                <c:pt idx="0">
                  <c:v>7.97</c:v>
                </c:pt>
                <c:pt idx="1">
                  <c:v>8.97</c:v>
                </c:pt>
                <c:pt idx="2">
                  <c:v>12.25</c:v>
                </c:pt>
                <c:pt idx="3">
                  <c:v>13.97</c:v>
                </c:pt>
                <c:pt idx="4">
                  <c:v>29.97</c:v>
                </c:pt>
                <c:pt idx="5">
                  <c:v>13.97</c:v>
                </c:pt>
                <c:pt idx="6">
                  <c:v>16.97</c:v>
                </c:pt>
                <c:pt idx="7">
                  <c:v>29.97</c:v>
                </c:pt>
                <c:pt idx="8">
                  <c:v>16.97</c:v>
                </c:pt>
                <c:pt idx="9">
                  <c:v>45.67</c:v>
                </c:pt>
                <c:pt idx="10">
                  <c:v>13.97</c:v>
                </c:pt>
                <c:pt idx="11">
                  <c:v>17.9</c:v>
                </c:pt>
                <c:pt idx="12">
                  <c:v>17.24</c:v>
                </c:pt>
                <c:pt idx="13">
                  <c:v>14.97</c:v>
                </c:pt>
                <c:pt idx="14">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1.99</a:t>
                    </a:r>
                  </a:p>
                </c:rich>
              </c:tx>
              <c:showLegendKey val="0"/>
              <c:showVal val="1"/>
              <c:showCatName val="0"/>
              <c:showSerName val="0"/>
              <c:showPercent val="0"/>
              <c:showBubbleSize val="0"/>
            </c:dLbl>
            <c:dLbl>
              <c:idx val="2"/>
              <c:tx>
                <c:rich>
                  <a:bodyPr/>
                  <a:lstStyle/>
                  <a:p>
                    <a:r>
                      <a:t>8.97</a:t>
                    </a:r>
                  </a:p>
                </c:rich>
              </c:tx>
              <c:showLegendKey val="0"/>
              <c:showVal val="1"/>
              <c:showCatName val="0"/>
              <c:showSerName val="0"/>
              <c:showPercent val="0"/>
              <c:showBubbleSize val="0"/>
            </c:dLbl>
            <c:dLbl>
              <c:idx val="3"/>
              <c:tx>
                <c:rich>
                  <a:bodyPr/>
                  <a:lstStyle/>
                  <a:p>
                    <a:r>
                      <a:t>12.25</a:t>
                    </a:r>
                  </a:p>
                </c:rich>
              </c:tx>
              <c:showLegendKey val="0"/>
              <c:showVal val="1"/>
              <c:showCatName val="0"/>
              <c:showSerName val="0"/>
              <c:showPercent val="0"/>
              <c:showBubbleSize val="0"/>
            </c:dLbl>
            <c:dLbl>
              <c:idx val="4"/>
              <c:tx>
                <c:rich>
                  <a:bodyPr/>
                  <a:lstStyle/>
                  <a:p>
                    <a:r>
                      <a:t>13.97</a:t>
                    </a:r>
                  </a:p>
                </c:rich>
              </c:tx>
              <c:showLegendKey val="0"/>
              <c:showVal val="1"/>
              <c:showCatName val="0"/>
              <c:showSerName val="0"/>
              <c:showPercent val="0"/>
              <c:showBubbleSize val="0"/>
            </c:dLbl>
            <c:dLbl>
              <c:idx val="5"/>
              <c:tx>
                <c:rich>
                  <a:bodyPr/>
                  <a:lstStyle/>
                  <a:p>
                    <a:r>
                      <a:t>29.97</a:t>
                    </a:r>
                  </a:p>
                </c:rich>
              </c:tx>
              <c:showLegendKey val="0"/>
              <c:showVal val="1"/>
              <c:showCatName val="0"/>
              <c:showSerName val="0"/>
              <c:showPercent val="0"/>
              <c:showBubbleSize val="0"/>
            </c:dLbl>
            <c:dLbl>
              <c:idx val="6"/>
              <c:tx>
                <c:rich>
                  <a:bodyPr/>
                  <a:lstStyle/>
                  <a:p>
                    <a:r>
                      <a:t>13.97</a:t>
                    </a:r>
                  </a:p>
                </c:rich>
              </c:tx>
              <c:showLegendKey val="0"/>
              <c:showVal val="1"/>
              <c:showCatName val="0"/>
              <c:showSerName val="0"/>
              <c:showPercent val="0"/>
              <c:showBubbleSize val="0"/>
            </c:dLbl>
            <c:dLbl>
              <c:idx val="7"/>
              <c:tx>
                <c:rich>
                  <a:bodyPr/>
                  <a:lstStyle/>
                  <a:p>
                    <a:r>
                      <a:t>16.97</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16.97</a:t>
                    </a:r>
                  </a:p>
                </c:rich>
              </c:tx>
              <c:showLegendKey val="0"/>
              <c:showVal val="1"/>
              <c:showCatName val="0"/>
              <c:showSerName val="0"/>
              <c:showPercent val="0"/>
              <c:showBubbleSize val="0"/>
            </c:dLbl>
            <c:dLbl>
              <c:idx val="10"/>
              <c:tx>
                <c:rich>
                  <a:bodyPr/>
                  <a:lstStyle/>
                  <a:p>
                    <a:r>
                      <a:t>45.67</a:t>
                    </a:r>
                  </a:p>
                </c:rich>
              </c:tx>
              <c:showLegendKey val="0"/>
              <c:showVal val="1"/>
              <c:showCatName val="0"/>
              <c:showSerName val="0"/>
              <c:showPercent val="0"/>
              <c:showBubbleSize val="0"/>
            </c:dLbl>
            <c:dLbl>
              <c:idx val="11"/>
              <c:tx>
                <c:rich>
                  <a:bodyPr/>
                  <a:lstStyle/>
                  <a:p>
                    <a:r>
                      <a:t>13.97</a:t>
                    </a:r>
                  </a:p>
                </c:rich>
              </c:tx>
              <c:showLegendKey val="0"/>
              <c:showVal val="1"/>
              <c:showCatName val="0"/>
              <c:showSerName val="0"/>
              <c:showPercent val="0"/>
              <c:showBubbleSize val="0"/>
            </c:dLbl>
            <c:dLbl>
              <c:idx val="12"/>
              <c:tx>
                <c:rich>
                  <a:bodyPr/>
                  <a:lstStyle/>
                  <a:p>
                    <a:r>
                      <a:t>1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DOLLAR SHAVE CLUB BLACK 6 BLADE RAZOR NORMAL 2CT</c:v>
                </c:pt>
                <c:pt idx="2">
                  <c:v>GILLETTE FUSION 5 5 BLADE RAZOR NORMAL 1CT</c:v>
                </c:pt>
                <c:pt idx="3">
                  <c:v>GILLETTE FUSION 5 5 BLADE RAZOR NORMAL 2CT</c:v>
                </c:pt>
                <c:pt idx="4">
                  <c:v>GILLETTE FUSION 5 5 BLADE RAZOR NORMAL 7CT</c:v>
                </c:pt>
                <c:pt idx="5">
                  <c:v>GILLETTE FUSION 5 PROGLIDE 5 BLADE RAZOR NORMAL 1CT</c:v>
                </c:pt>
                <c:pt idx="6">
                  <c:v>GILLETTE FUSION 5 PROGLIDE 5 BLADE RAZOR NORMAL 2CT</c:v>
                </c:pt>
                <c:pt idx="7">
                  <c:v>GILLETTE FUSION 5 PROGLIDE STYLER REM BLADES RAZOR 1CT</c:v>
                </c:pt>
                <c:pt idx="8">
                  <c:v>GILLETTE FUSION 5 PROSHIELD 5 BLADE RAZOR NORMAL 1CT</c:v>
                </c:pt>
                <c:pt idx="9">
                  <c:v>GILLETTE FUSION 5 PROSHIELD 5 BLADE RAZOR NORMAL 8CT</c:v>
                </c:pt>
                <c:pt idx="10">
                  <c:v>GILLETTE FUSION 5 PROSHIELD GRAY 5 BLADE RAZOR NORMAL 2CT</c:v>
                </c:pt>
                <c:pt idx="11">
                  <c:v>GILLETTE INTIMATE BLACK 5 BLADE RAZOR NORMAL 2CT</c:v>
                </c:pt>
                <c:pt idx="12">
                  <c:v>GILLETTE LABS 5 BLADE RAZOR NORMAL 1CT</c:v>
                </c:pt>
              </c:strCache>
            </c:strRef>
          </c:cat>
          <c:val>
            <c:numRef>
              <c:f>Sheet1!$B$2:$B$16</c:f>
              <c:numCache>
                <c:formatCode>General</c:formatCode>
                <c:ptCount val="15"/>
                <c:pt idx="0">
                  <c:v>14.97</c:v>
                </c:pt>
                <c:pt idx="1">
                  <c:v>11.99</c:v>
                </c:pt>
                <c:pt idx="2">
                  <c:v>8.97</c:v>
                </c:pt>
                <c:pt idx="3">
                  <c:v>12.25</c:v>
                </c:pt>
                <c:pt idx="4">
                  <c:v>13.97</c:v>
                </c:pt>
                <c:pt idx="5">
                  <c:v>29.97</c:v>
                </c:pt>
                <c:pt idx="6">
                  <c:v>13.97</c:v>
                </c:pt>
                <c:pt idx="7">
                  <c:v>16.97</c:v>
                </c:pt>
                <c:pt idx="8">
                  <c:v>29.97</c:v>
                </c:pt>
                <c:pt idx="9">
                  <c:v>16.97</c:v>
                </c:pt>
                <c:pt idx="10">
                  <c:v>45.67</c:v>
                </c:pt>
                <c:pt idx="11">
                  <c:v>13.97</c:v>
                </c:pt>
                <c:pt idx="12">
                  <c:v>17.9</c:v>
                </c:pt>
                <c:pt idx="13">
                  <c:v>17.24</c:v>
                </c:pt>
                <c:pt idx="14">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26.97</a:t>
                    </a:r>
                  </a:p>
                </c:rich>
              </c:tx>
              <c:showLegendKey val="0"/>
              <c:showVal val="1"/>
              <c:showCatName val="0"/>
              <c:showSerName val="0"/>
              <c:showPercent val="0"/>
              <c:showBubbleSize val="0"/>
            </c:dLbl>
            <c:dLbl>
              <c:idx val="2"/>
              <c:tx>
                <c:rich>
                  <a:bodyPr/>
                  <a:lstStyle/>
                  <a:p>
                    <a:r>
                      <a:t>8.97</a:t>
                    </a:r>
                  </a:p>
                </c:rich>
              </c:tx>
              <c:showLegendKey val="0"/>
              <c:showVal val="1"/>
              <c:showCatName val="0"/>
              <c:showSerName val="0"/>
              <c:showPercent val="0"/>
              <c:showBubbleSize val="0"/>
            </c:dLbl>
            <c:dLbl>
              <c:idx val="3"/>
              <c:tx>
                <c:rich>
                  <a:bodyPr/>
                  <a:lstStyle/>
                  <a:p>
                    <a:r>
                      <a:t>16.97</a:t>
                    </a:r>
                  </a:p>
                </c:rich>
              </c:tx>
              <c:showLegendKey val="0"/>
              <c:showVal val="1"/>
              <c:showCatName val="0"/>
              <c:showSerName val="0"/>
              <c:showPercent val="0"/>
              <c:showBubbleSize val="0"/>
            </c:dLbl>
            <c:dLbl>
              <c:idx val="4"/>
              <c:tx>
                <c:rich>
                  <a:bodyPr/>
                  <a:lstStyle/>
                  <a:p>
                    <a:r>
                      <a:t>24.97</a:t>
                    </a:r>
                  </a:p>
                </c:rich>
              </c:tx>
              <c:showLegendKey val="0"/>
              <c:showVal val="1"/>
              <c:showCatName val="0"/>
              <c:showSerName val="0"/>
              <c:showPercent val="0"/>
              <c:showBubbleSize val="0"/>
            </c:dLbl>
            <c:dLbl>
              <c:idx val="5"/>
              <c:tx>
                <c:rich>
                  <a:bodyPr/>
                  <a:lstStyle/>
                  <a:p>
                    <a:r>
                      <a:t>39.97</a:t>
                    </a:r>
                  </a:p>
                </c:rich>
              </c:tx>
              <c:showLegendKey val="0"/>
              <c:showVal val="1"/>
              <c:showCatName val="0"/>
              <c:showSerName val="0"/>
              <c:showPercent val="0"/>
              <c:showBubbleSize val="0"/>
            </c:dLbl>
            <c:dLbl>
              <c:idx val="6"/>
              <c:tx>
                <c:rich>
                  <a:bodyPr/>
                  <a:lstStyle/>
                  <a:p>
                    <a:r>
                      <a:t>16.97</a:t>
                    </a:r>
                  </a:p>
                </c:rich>
              </c:tx>
              <c:showLegendKey val="0"/>
              <c:showVal val="1"/>
              <c:showCatName val="0"/>
              <c:showSerName val="0"/>
              <c:showPercent val="0"/>
              <c:showBubbleSize val="0"/>
            </c:dLbl>
            <c:dLbl>
              <c:idx val="7"/>
              <c:tx>
                <c:rich>
                  <a:bodyPr/>
                  <a:lstStyle/>
                  <a:p>
                    <a:r>
                      <a:t>17.97</a:t>
                    </a:r>
                  </a:p>
                </c:rich>
              </c:tx>
              <c:showLegendKey val="0"/>
              <c:showVal val="1"/>
              <c:showCatName val="0"/>
              <c:showSerName val="0"/>
              <c:showPercent val="0"/>
              <c:showBubbleSize val="0"/>
            </c:dLbl>
            <c:dLbl>
              <c:idx val="8"/>
              <c:tx>
                <c:rich>
                  <a:bodyPr/>
                  <a:lstStyle/>
                  <a:p>
                    <a:r>
                      <a:t>17.97</a:t>
                    </a:r>
                  </a:p>
                </c:rich>
              </c:tx>
              <c:showLegendKey val="0"/>
              <c:showVal val="1"/>
              <c:showCatName val="0"/>
              <c:showSerName val="0"/>
              <c:showPercent val="0"/>
              <c:showBubbleSize val="0"/>
            </c:dLbl>
            <c:dLbl>
              <c:idx val="9"/>
              <c:tx>
                <c:rich>
                  <a:bodyPr/>
                  <a:lstStyle/>
                  <a:p>
                    <a:r>
                      <a:t>14.99</a:t>
                    </a:r>
                  </a:p>
                </c:rich>
              </c:tx>
              <c:showLegendKey val="0"/>
              <c:showVal val="1"/>
              <c:showCatName val="0"/>
              <c:showSerName val="0"/>
              <c:showPercent val="0"/>
              <c:showBubbleSize val="0"/>
            </c:dLbl>
            <c:dLbl>
              <c:idx val="10"/>
              <c:tx>
                <c:rich>
                  <a:bodyPr/>
                  <a:lstStyle/>
                  <a:p>
                    <a:r>
                      <a:t>19.97</a:t>
                    </a:r>
                  </a:p>
                </c:rich>
              </c:tx>
              <c:showLegendKey val="0"/>
              <c:showVal val="1"/>
              <c:showCatName val="0"/>
              <c:showSerName val="0"/>
              <c:showPercent val="0"/>
              <c:showBubbleSize val="0"/>
            </c:dLbl>
            <c:dLbl>
              <c:idx val="11"/>
              <c:tx>
                <c:rich>
                  <a:bodyPr/>
                  <a:lstStyle/>
                  <a:p>
                    <a:r>
                      <a:t>28.97</a:t>
                    </a:r>
                  </a:p>
                </c:rich>
              </c:tx>
              <c:showLegendKey val="0"/>
              <c:showVal val="1"/>
              <c:showCatName val="0"/>
              <c:showSerName val="0"/>
              <c:showPercent val="0"/>
              <c:showBubbleSize val="0"/>
            </c:dLbl>
            <c:dLbl>
              <c:idx val="12"/>
              <c:tx>
                <c:rich>
                  <a:bodyPr/>
                  <a:lstStyle/>
                  <a:p>
                    <a:r>
                      <a:t>34.87</a:t>
                    </a:r>
                  </a:p>
                </c:rich>
              </c:tx>
              <c:showLegendKey val="0"/>
              <c:showVal val="1"/>
              <c:showCatName val="0"/>
              <c:showSerName val="0"/>
              <c:showPercent val="0"/>
              <c:showBubbleSize val="0"/>
            </c:dLbl>
            <c:dLbl>
              <c:idx val="13"/>
              <c:tx>
                <c:rich>
                  <a:bodyPr/>
                  <a:lstStyle/>
                  <a:p>
                    <a:r>
                      <a:t>37.97</a:t>
                    </a:r>
                  </a:p>
                </c:rich>
              </c:tx>
              <c:showLegendKey val="0"/>
              <c:showVal val="1"/>
              <c:showCatName val="0"/>
              <c:showSerName val="0"/>
              <c:showPercent val="0"/>
              <c:showBubbleSize val="0"/>
            </c:dLbl>
            <c:dLbl>
              <c:idx val="14"/>
              <c:tx>
                <c:rich>
                  <a:bodyPr/>
                  <a:lstStyle/>
                  <a:p>
                    <a:r>
                      <a:t>1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DOLLAR SHAVE CLUB 6 BLADE REFILL NORMAL 4CT</c:v>
                </c:pt>
                <c:pt idx="3">
                  <c:v>DOLLAR SHAVE CLUB 6 BLADE REFILL NORMAL 8CT</c:v>
                </c:pt>
                <c:pt idx="4">
                  <c:v>GILLETTE (ATRA &amp; TRAC) 2 BLADE REFILL NORMAL 10CT</c:v>
                </c:pt>
                <c:pt idx="5">
                  <c:v>GILLETTE FUSION 5 5 BLADE REFILL NORMAL 12CT</c:v>
                </c:pt>
                <c:pt idx="6">
                  <c:v>GILLETTE FUSION 5 5 BLADE REFILL NORMAL 4CT</c:v>
                </c:pt>
                <c:pt idx="7">
                  <c:v>GILLETTE FUSION 5 PROGLIDE 5 BLADE REFILL NORMAL 4CT</c:v>
                </c:pt>
                <c:pt idx="8">
                  <c:v>GILLETTE FUSION 5 PROSHIELD 5 BLADE REFILL NORMAL 4CT</c:v>
                </c:pt>
                <c:pt idx="9">
                  <c:v>GILLETTE INTIMATE 5 BLADE REFILL NORMAL 4CT</c:v>
                </c:pt>
                <c:pt idx="10">
                  <c:v>GILLETTE LABS 5 BLADE REFILL NORMAL 4CT</c:v>
                </c:pt>
                <c:pt idx="11">
                  <c:v>GILLETTE LABS 5 BLADE REFILL NORMAL 6CT</c:v>
                </c:pt>
                <c:pt idx="12">
                  <c:v>GILLETTE LABS 5 BLADE REFILL NORMAL 9CT</c:v>
                </c:pt>
                <c:pt idx="13">
                  <c:v>GILLETTE MACH 3 3 BLADE REFILL NORMAL 15CT</c:v>
                </c:pt>
                <c:pt idx="14">
                  <c:v>GILLETTE MACH 3 3 BLADE REFILL NORMAL 4CT</c:v>
                </c:pt>
              </c:strCache>
            </c:strRef>
          </c:cat>
          <c:val>
            <c:numRef>
              <c:f>Sheet1!$B$2:$B$16</c:f>
              <c:numCache>
                <c:formatCode>General</c:formatCode>
                <c:ptCount val="15"/>
                <c:pt idx="0">
                  <c:v>14.97</c:v>
                </c:pt>
                <c:pt idx="1">
                  <c:v>26.97</c:v>
                </c:pt>
                <c:pt idx="2">
                  <c:v>8.97</c:v>
                </c:pt>
                <c:pt idx="3">
                  <c:v>16.97</c:v>
                </c:pt>
                <c:pt idx="4">
                  <c:v>24.97</c:v>
                </c:pt>
                <c:pt idx="5">
                  <c:v>39.97</c:v>
                </c:pt>
                <c:pt idx="6">
                  <c:v>16.97</c:v>
                </c:pt>
                <c:pt idx="7">
                  <c:v>17.97</c:v>
                </c:pt>
                <c:pt idx="8">
                  <c:v>17.97</c:v>
                </c:pt>
                <c:pt idx="9">
                  <c:v>14.99</c:v>
                </c:pt>
                <c:pt idx="10">
                  <c:v>19.97</c:v>
                </c:pt>
                <c:pt idx="11">
                  <c:v>28.97</c:v>
                </c:pt>
                <c:pt idx="12">
                  <c:v>34.87</c:v>
                </c:pt>
                <c:pt idx="13">
                  <c:v>37.97</c:v>
                </c:pt>
                <c:pt idx="14">
                  <c:v>1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6.97</a:t>
                    </a:r>
                  </a:p>
                </c:rich>
              </c:tx>
              <c:showLegendKey val="0"/>
              <c:showVal val="1"/>
              <c:showCatName val="0"/>
              <c:showSerName val="0"/>
              <c:showPercent val="0"/>
              <c:showBubbleSize val="0"/>
            </c:dLbl>
            <c:dLbl>
              <c:idx val="3"/>
              <c:tx>
                <c:rich>
                  <a:bodyPr/>
                  <a:lstStyle/>
                  <a:p>
                    <a:r>
                      <a:t>24.97</a:t>
                    </a:r>
                  </a:p>
                </c:rich>
              </c:tx>
              <c:showLegendKey val="0"/>
              <c:showVal val="1"/>
              <c:showCatName val="0"/>
              <c:showSerName val="0"/>
              <c:showPercent val="0"/>
              <c:showBubbleSize val="0"/>
            </c:dLbl>
            <c:dLbl>
              <c:idx val="4"/>
              <c:tx>
                <c:rich>
                  <a:bodyPr/>
                  <a:lstStyle/>
                  <a:p>
                    <a:r>
                      <a:t>39.97</a:t>
                    </a:r>
                  </a:p>
                </c:rich>
              </c:tx>
              <c:showLegendKey val="0"/>
              <c:showVal val="1"/>
              <c:showCatName val="0"/>
              <c:showSerName val="0"/>
              <c:showPercent val="0"/>
              <c:showBubbleSize val="0"/>
            </c:dLbl>
            <c:dLbl>
              <c:idx val="5"/>
              <c:tx>
                <c:rich>
                  <a:bodyPr/>
                  <a:lstStyle/>
                  <a:p>
                    <a:r>
                      <a:t>16.97</a:t>
                    </a:r>
                  </a:p>
                </c:rich>
              </c:tx>
              <c:showLegendKey val="0"/>
              <c:showVal val="1"/>
              <c:showCatName val="0"/>
              <c:showSerName val="0"/>
              <c:showPercent val="0"/>
              <c:showBubbleSize val="0"/>
            </c:dLbl>
            <c:dLbl>
              <c:idx val="6"/>
              <c:tx>
                <c:rich>
                  <a:bodyPr/>
                  <a:lstStyle/>
                  <a:p>
                    <a:r>
                      <a:t>17.97</a:t>
                    </a:r>
                  </a:p>
                </c:rich>
              </c:tx>
              <c:showLegendKey val="0"/>
              <c:showVal val="1"/>
              <c:showCatName val="0"/>
              <c:showSerName val="0"/>
              <c:showPercent val="0"/>
              <c:showBubbleSize val="0"/>
            </c:dLbl>
            <c:dLbl>
              <c:idx val="7"/>
              <c:tx>
                <c:rich>
                  <a:bodyPr/>
                  <a:lstStyle/>
                  <a:p>
                    <a:r>
                      <a:t>17.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19.97</a:t>
                    </a:r>
                  </a:p>
                </c:rich>
              </c:tx>
              <c:showLegendKey val="0"/>
              <c:showVal val="1"/>
              <c:showCatName val="0"/>
              <c:showSerName val="0"/>
              <c:showPercent val="0"/>
              <c:showBubbleSize val="0"/>
            </c:dLbl>
            <c:dLbl>
              <c:idx val="10"/>
              <c:tx>
                <c:rich>
                  <a:bodyPr/>
                  <a:lstStyle/>
                  <a:p>
                    <a:r>
                      <a:t>28.97</a:t>
                    </a:r>
                  </a:p>
                </c:rich>
              </c:tx>
              <c:showLegendKey val="0"/>
              <c:showVal val="1"/>
              <c:showCatName val="0"/>
              <c:showSerName val="0"/>
              <c:showPercent val="0"/>
              <c:showBubbleSize val="0"/>
            </c:dLbl>
            <c:dLbl>
              <c:idx val="11"/>
              <c:tx>
                <c:rich>
                  <a:bodyPr/>
                  <a:lstStyle/>
                  <a:p>
                    <a:r>
                      <a:t>34.87</a:t>
                    </a:r>
                  </a:p>
                </c:rich>
              </c:tx>
              <c:showLegendKey val="0"/>
              <c:showVal val="1"/>
              <c:showCatName val="0"/>
              <c:showSerName val="0"/>
              <c:showPercent val="0"/>
              <c:showBubbleSize val="0"/>
            </c:dLbl>
            <c:dLbl>
              <c:idx val="12"/>
              <c:tx>
                <c:rich>
                  <a:bodyPr/>
                  <a:lstStyle/>
                  <a:p>
                    <a:r>
                      <a:t>37.97</a:t>
                    </a:r>
                  </a:p>
                </c:rich>
              </c:tx>
              <c:showLegendKey val="0"/>
              <c:showVal val="1"/>
              <c:showCatName val="0"/>
              <c:showSerName val="0"/>
              <c:showPercent val="0"/>
              <c:showBubbleSize val="0"/>
            </c:dLbl>
            <c:dLbl>
              <c:idx val="13"/>
              <c:tx>
                <c:rich>
                  <a:bodyPr/>
                  <a:lstStyle/>
                  <a:p>
                    <a:r>
                      <a:t>12.97</a:t>
                    </a:r>
                  </a:p>
                </c:rich>
              </c:tx>
              <c:showLegendKey val="0"/>
              <c:showVal val="1"/>
              <c:showCatName val="0"/>
              <c:showSerName val="0"/>
              <c:showPercent val="0"/>
              <c:showBubbleSize val="0"/>
            </c:dLbl>
            <c:dLbl>
              <c:idx val="14"/>
              <c:tx>
                <c:rich>
                  <a:bodyPr/>
                  <a:lstStyle/>
                  <a:p>
                    <a:r>
                      <a:t>2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12CT</c:v>
                </c:pt>
                <c:pt idx="1">
                  <c:v>DOLLAR SHAVE CLUB 6 BLADE REFILL NORMAL 4CT</c:v>
                </c:pt>
                <c:pt idx="2">
                  <c:v>DOLLAR SHAVE CLUB 6 BLADE REFILL NORMAL 8CT</c:v>
                </c:pt>
                <c:pt idx="3">
                  <c:v>GILLETTE (ATRA &amp; TRAC) 2 BLADE REFILL NORMAL 10CT</c:v>
                </c:pt>
                <c:pt idx="4">
                  <c:v>GILLETTE FUSION 5 5 BLADE REFILL NORMAL 12CT</c:v>
                </c:pt>
                <c:pt idx="5">
                  <c:v>GILLETTE FUSION 5 5 BLADE REFILL NORMAL 4CT</c:v>
                </c:pt>
                <c:pt idx="6">
                  <c:v>GILLETTE FUSION 5 PROGLIDE 5 BLADE REFILL NORMAL 4CT</c:v>
                </c:pt>
                <c:pt idx="7">
                  <c:v>GILLETTE FUSION 5 PROSHIELD 5 BLADE REFILL NORMAL 4CT</c:v>
                </c:pt>
                <c:pt idx="8">
                  <c:v>GILLETTE INTIMATE 5 BLADE REFILL NORMAL 4CT</c:v>
                </c:pt>
                <c:pt idx="9">
                  <c:v>GILLETTE LABS 5 BLADE REFILL NORMAL 4CT</c:v>
                </c:pt>
                <c:pt idx="10">
                  <c:v>GILLETTE LABS 5 BLADE REFILL NORMAL 6CT</c:v>
                </c:pt>
                <c:pt idx="11">
                  <c:v>GILLETTE LABS 5 BLADE REFILL NORMAL 9CT</c:v>
                </c:pt>
                <c:pt idx="12">
                  <c:v>GILLETTE MACH 3 3 BLADE REFILL NORMAL 15CT</c:v>
                </c:pt>
                <c:pt idx="13">
                  <c:v>GILLETTE MACH 3 3 BLADE REFILL NORMAL 4CT</c:v>
                </c:pt>
                <c:pt idx="14">
                  <c:v>GILLETTE MACH 3 3 BLADE REFILL NORMAL 8CT</c:v>
                </c:pt>
              </c:strCache>
            </c:strRef>
          </c:cat>
          <c:val>
            <c:numRef>
              <c:f>Sheet1!$B$2:$B$16</c:f>
              <c:numCache>
                <c:formatCode>General</c:formatCode>
                <c:ptCount val="15"/>
                <c:pt idx="0">
                  <c:v>14.97</c:v>
                </c:pt>
                <c:pt idx="1">
                  <c:v>8.97</c:v>
                </c:pt>
                <c:pt idx="2">
                  <c:v>16.97</c:v>
                </c:pt>
                <c:pt idx="3">
                  <c:v>24.97</c:v>
                </c:pt>
                <c:pt idx="4">
                  <c:v>39.97</c:v>
                </c:pt>
                <c:pt idx="5">
                  <c:v>16.97</c:v>
                </c:pt>
                <c:pt idx="6">
                  <c:v>17.97</c:v>
                </c:pt>
                <c:pt idx="7">
                  <c:v>17.97</c:v>
                </c:pt>
                <c:pt idx="8">
                  <c:v>14.99</c:v>
                </c:pt>
                <c:pt idx="9">
                  <c:v>19.97</c:v>
                </c:pt>
                <c:pt idx="10">
                  <c:v>28.97</c:v>
                </c:pt>
                <c:pt idx="11">
                  <c:v>34.87</c:v>
                </c:pt>
                <c:pt idx="12">
                  <c:v>37.97</c:v>
                </c:pt>
                <c:pt idx="13">
                  <c:v>12.97</c:v>
                </c:pt>
                <c:pt idx="14">
                  <c:v>2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3</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6.97</a:t>
                    </a:r>
                  </a:p>
                </c:rich>
              </c:tx>
              <c:showLegendKey val="0"/>
              <c:showVal val="1"/>
              <c:showCatName val="0"/>
              <c:showSerName val="0"/>
              <c:showPercent val="0"/>
              <c:showBubbleSize val="0"/>
            </c:dLbl>
            <c:dLbl>
              <c:idx val="3"/>
              <c:tx>
                <c:rich>
                  <a:bodyPr/>
                  <a:lstStyle/>
                  <a:p>
                    <a:r>
                      <a:t>24.97</a:t>
                    </a:r>
                  </a:p>
                </c:rich>
              </c:tx>
              <c:showLegendKey val="0"/>
              <c:showVal val="1"/>
              <c:showCatName val="0"/>
              <c:showSerName val="0"/>
              <c:showPercent val="0"/>
              <c:showBubbleSize val="0"/>
            </c:dLbl>
            <c:dLbl>
              <c:idx val="4"/>
              <c:tx>
                <c:rich>
                  <a:bodyPr/>
                  <a:lstStyle/>
                  <a:p>
                    <a:r>
                      <a:t>39.97</a:t>
                    </a:r>
                  </a:p>
                </c:rich>
              </c:tx>
              <c:showLegendKey val="0"/>
              <c:showVal val="1"/>
              <c:showCatName val="0"/>
              <c:showSerName val="0"/>
              <c:showPercent val="0"/>
              <c:showBubbleSize val="0"/>
            </c:dLbl>
            <c:dLbl>
              <c:idx val="5"/>
              <c:tx>
                <c:rich>
                  <a:bodyPr/>
                  <a:lstStyle/>
                  <a:p>
                    <a:r>
                      <a:t>16.97</a:t>
                    </a:r>
                  </a:p>
                </c:rich>
              </c:tx>
              <c:showLegendKey val="0"/>
              <c:showVal val="1"/>
              <c:showCatName val="0"/>
              <c:showSerName val="0"/>
              <c:showPercent val="0"/>
              <c:showBubbleSize val="0"/>
            </c:dLbl>
            <c:dLbl>
              <c:idx val="6"/>
              <c:tx>
                <c:rich>
                  <a:bodyPr/>
                  <a:lstStyle/>
                  <a:p>
                    <a:r>
                      <a:t>17.97</a:t>
                    </a:r>
                  </a:p>
                </c:rich>
              </c:tx>
              <c:showLegendKey val="0"/>
              <c:showVal val="1"/>
              <c:showCatName val="0"/>
              <c:showSerName val="0"/>
              <c:showPercent val="0"/>
              <c:showBubbleSize val="0"/>
            </c:dLbl>
            <c:dLbl>
              <c:idx val="7"/>
              <c:tx>
                <c:rich>
                  <a:bodyPr/>
                  <a:lstStyle/>
                  <a:p>
                    <a:r>
                      <a:t>17.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19.97</a:t>
                    </a:r>
                  </a:p>
                </c:rich>
              </c:tx>
              <c:showLegendKey val="0"/>
              <c:showVal val="1"/>
              <c:showCatName val="0"/>
              <c:showSerName val="0"/>
              <c:showPercent val="0"/>
              <c:showBubbleSize val="0"/>
            </c:dLbl>
            <c:dLbl>
              <c:idx val="10"/>
              <c:tx>
                <c:rich>
                  <a:bodyPr/>
                  <a:lstStyle/>
                  <a:p>
                    <a:r>
                      <a:t>28.97</a:t>
                    </a:r>
                  </a:p>
                </c:rich>
              </c:tx>
              <c:showLegendKey val="0"/>
              <c:showVal val="1"/>
              <c:showCatName val="0"/>
              <c:showSerName val="0"/>
              <c:showPercent val="0"/>
              <c:showBubbleSize val="0"/>
            </c:dLbl>
            <c:dLbl>
              <c:idx val="11"/>
              <c:tx>
                <c:rich>
                  <a:bodyPr/>
                  <a:lstStyle/>
                  <a:p>
                    <a:r>
                      <a:t>34.87</a:t>
                    </a:r>
                  </a:p>
                </c:rich>
              </c:tx>
              <c:showLegendKey val="0"/>
              <c:showVal val="1"/>
              <c:showCatName val="0"/>
              <c:showSerName val="0"/>
              <c:showPercent val="0"/>
              <c:showBubbleSize val="0"/>
            </c:dLbl>
            <c:dLbl>
              <c:idx val="12"/>
              <c:tx>
                <c:rich>
                  <a:bodyPr/>
                  <a:lstStyle/>
                  <a:p>
                    <a:r>
                      <a:t>37.97</a:t>
                    </a:r>
                  </a:p>
                </c:rich>
              </c:tx>
              <c:showLegendKey val="0"/>
              <c:showVal val="1"/>
              <c:showCatName val="0"/>
              <c:showSerName val="0"/>
              <c:showPercent val="0"/>
              <c:showBubbleSize val="0"/>
            </c:dLbl>
            <c:dLbl>
              <c:idx val="13"/>
              <c:tx>
                <c:rich>
                  <a:bodyPr/>
                  <a:lstStyle/>
                  <a:p>
                    <a:r>
                      <a:t>12.97</a:t>
                    </a:r>
                  </a:p>
                </c:rich>
              </c:tx>
              <c:showLegendKey val="0"/>
              <c:showVal val="1"/>
              <c:showCatName val="0"/>
              <c:showSerName val="0"/>
              <c:showPercent val="0"/>
              <c:showBubbleSize val="0"/>
            </c:dLbl>
            <c:dLbl>
              <c:idx val="14"/>
              <c:tx>
                <c:rich>
                  <a:bodyPr/>
                  <a:lstStyle/>
                  <a:p>
                    <a:r>
                      <a:t>22.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REMO 5 BLADE REFILL NORMAL 4CT</c:v>
                </c:pt>
                <c:pt idx="1">
                  <c:v>DOLLAR SHAVE CLUB 6 BLADE REFILL NORMAL 4CT</c:v>
                </c:pt>
                <c:pt idx="2">
                  <c:v>DOLLAR SHAVE CLUB 6 BLADE REFILL NORMAL 8CT</c:v>
                </c:pt>
                <c:pt idx="3">
                  <c:v>GILLETTE (ATRA &amp; TRAC) 2 BLADE REFILL NORMAL 10CT</c:v>
                </c:pt>
                <c:pt idx="4">
                  <c:v>GILLETTE FUSION 5 5 BLADE REFILL NORMAL 12CT</c:v>
                </c:pt>
                <c:pt idx="5">
                  <c:v>GILLETTE FUSION 5 5 BLADE REFILL NORMAL 4CT</c:v>
                </c:pt>
                <c:pt idx="6">
                  <c:v>GILLETTE FUSION 5 PROGLIDE 5 BLADE REFILL NORMAL 4CT</c:v>
                </c:pt>
                <c:pt idx="7">
                  <c:v>GILLETTE FUSION 5 PROSHIELD 5 BLADE REFILL NORMAL 4CT</c:v>
                </c:pt>
                <c:pt idx="8">
                  <c:v>GILLETTE INTIMATE 5 BLADE REFILL NORMAL 4CT</c:v>
                </c:pt>
                <c:pt idx="9">
                  <c:v>GILLETTE LABS 5 BLADE REFILL NORMAL 4CT</c:v>
                </c:pt>
                <c:pt idx="10">
                  <c:v>GILLETTE LABS 5 BLADE REFILL NORMAL 6CT</c:v>
                </c:pt>
                <c:pt idx="11">
                  <c:v>GILLETTE LABS 5 BLADE REFILL NORMAL 9CT</c:v>
                </c:pt>
                <c:pt idx="12">
                  <c:v>GILLETTE MACH 3 3 BLADE REFILL NORMAL 15CT</c:v>
                </c:pt>
                <c:pt idx="13">
                  <c:v>GILLETTE MACH 3 3 BLADE REFILL NORMAL 4CT</c:v>
                </c:pt>
                <c:pt idx="14">
                  <c:v>GILLETTE MACH 3 3 BLADE REFILL NORMAL 8CT</c:v>
                </c:pt>
              </c:strCache>
            </c:strRef>
          </c:cat>
          <c:val>
            <c:numRef>
              <c:f>Sheet1!$B$2:$B$16</c:f>
              <c:numCache>
                <c:formatCode>General</c:formatCode>
                <c:ptCount val="15"/>
                <c:pt idx="0">
                  <c:v>14.13</c:v>
                </c:pt>
                <c:pt idx="1">
                  <c:v>8.97</c:v>
                </c:pt>
                <c:pt idx="2">
                  <c:v>16.97</c:v>
                </c:pt>
                <c:pt idx="3">
                  <c:v>24.97</c:v>
                </c:pt>
                <c:pt idx="4">
                  <c:v>39.97</c:v>
                </c:pt>
                <c:pt idx="5">
                  <c:v>16.97</c:v>
                </c:pt>
                <c:pt idx="6">
                  <c:v>17.97</c:v>
                </c:pt>
                <c:pt idx="7">
                  <c:v>17.97</c:v>
                </c:pt>
                <c:pt idx="8">
                  <c:v>14.99</c:v>
                </c:pt>
                <c:pt idx="9">
                  <c:v>19.97</c:v>
                </c:pt>
                <c:pt idx="10">
                  <c:v>28.97</c:v>
                </c:pt>
                <c:pt idx="11">
                  <c:v>34.87</c:v>
                </c:pt>
                <c:pt idx="12">
                  <c:v>37.97</c:v>
                </c:pt>
                <c:pt idx="13">
                  <c:v>12.97</c:v>
                </c:pt>
                <c:pt idx="14">
                  <c:v>22.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6.78</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11.52</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26.97</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9.99</a:t>
                    </a:r>
                  </a:p>
                </c:rich>
              </c:tx>
              <c:showLegendKey val="0"/>
              <c:showVal val="1"/>
              <c:showCatName val="0"/>
              <c:showSerName val="0"/>
              <c:showPercent val="0"/>
              <c:showBubbleSize val="0"/>
            </c:dLbl>
            <c:dLbl>
              <c:idx val="9"/>
              <c:tx>
                <c:rich>
                  <a:bodyPr/>
                  <a:lstStyle/>
                  <a:p>
                    <a:r>
                      <a:t>14.13</a:t>
                    </a:r>
                  </a:p>
                </c:rich>
              </c:tx>
              <c:showLegendKey val="0"/>
              <c:showVal val="1"/>
              <c:showCatName val="0"/>
              <c:showSerName val="0"/>
              <c:showPercent val="0"/>
              <c:showBubbleSize val="0"/>
            </c:dLbl>
            <c:dLbl>
              <c:idx val="10"/>
              <c:tx>
                <c:rich>
                  <a:bodyPr/>
                  <a:lstStyle/>
                  <a:p>
                    <a:r>
                      <a:t>11.52</a:t>
                    </a:r>
                  </a:p>
                </c:rich>
              </c:tx>
              <c:showLegendKey val="0"/>
              <c:showVal val="1"/>
              <c:showCatName val="0"/>
              <c:showSerName val="0"/>
              <c:showPercent val="0"/>
              <c:showBubbleSize val="0"/>
            </c:dLbl>
            <c:dLbl>
              <c:idx val="11"/>
              <c:tx>
                <c:rich>
                  <a:bodyPr/>
                  <a:lstStyle/>
                  <a:p>
                    <a:r>
                      <a:t>15.72</a:t>
                    </a:r>
                  </a:p>
                </c:rich>
              </c:tx>
              <c:showLegendKey val="0"/>
              <c:showVal val="1"/>
              <c:showCatName val="0"/>
              <c:showSerName val="0"/>
              <c:showPercent val="0"/>
              <c:showBubbleSize val="0"/>
            </c:dLbl>
            <c:dLbl>
              <c:idx val="12"/>
              <c:tx>
                <c:rich>
                  <a:bodyPr/>
                  <a:lstStyle/>
                  <a:p>
                    <a:r>
                      <a:t>14.97</a:t>
                    </a:r>
                  </a:p>
                </c:rich>
              </c:tx>
              <c:showLegendKey val="0"/>
              <c:showVal val="1"/>
              <c:showCatName val="0"/>
              <c:showSerName val="0"/>
              <c:showPercent val="0"/>
              <c:showBubbleSize val="0"/>
            </c:dLbl>
            <c:dLbl>
              <c:idx val="13"/>
              <c:tx>
                <c:rich>
                  <a:bodyPr/>
                  <a:lstStyle/>
                  <a:p>
                    <a:r>
                      <a:t>11.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3 SENSITIVE BLACK 3 BLADE DISPOSABLE SENSITIVE 4CT</c:v>
                </c:pt>
                <c:pt idx="1">
                  <c:v>SCHICK XTREME 2 SENSITIVE 2 BLADE DISPOSABLE NORMAL 12CT</c:v>
                </c:pt>
                <c:pt idx="2">
                  <c:v>HYDRO 5 SENSITIVE 5 BLADE REFILL SENSITIVE 6CT</c:v>
                </c:pt>
                <c:pt idx="3">
                  <c:v>SCHICK XTREME 3 SENSITIVE GREEN 3 BLADE DISPOSABLE SENSITIVE 8CT</c:v>
                </c:pt>
                <c:pt idx="4">
                  <c:v>HYDRO 5 SENSITIVE 5 BLADE RAZOR SENSITIVE 3CT</c:v>
                </c:pt>
                <c:pt idx="5">
                  <c:v>HYDRO 5 SENSITIVE 5 BLADE REFILL SENSITIVE 12CT</c:v>
                </c:pt>
                <c:pt idx="6">
                  <c:v>SCHICK XTREME 3 SENSITIVE BLACK GREEN 3 BLADE DISPOSABLE SENSITIVE 12CT</c:v>
                </c:pt>
                <c:pt idx="7">
                  <c:v>SCHICK XTREME 3 SENSITIVE GREEN BLACK 3 BLADE DISPOSABLE SENSITIVE 4CT</c:v>
                </c:pt>
                <c:pt idx="8">
                  <c:v>SCHICK HYDRO 3 SENSITIVE 3 BLADE RAZOR SENSITIVE 4CT</c:v>
                </c:pt>
                <c:pt idx="9">
                  <c:v>CREMO 5 BLADE REFILL NORMAL 4CT</c:v>
                </c:pt>
                <c:pt idx="10">
                  <c:v>SCHICK XTREME 3 SENSITIVE GREEN BLACK 3 BLADE DISPOSABLE SENSITIVE 8CT</c:v>
                </c:pt>
                <c:pt idx="11">
                  <c:v>SCHICK XTREME 3 SENSITIVE GREEN BLACK 3 BLADE DISPOSABLE SENSITIVE 12CT</c:v>
                </c:pt>
                <c:pt idx="12">
                  <c:v>CREMO 5 BLADE RAZOR NORMAL 2CT</c:v>
                </c:pt>
                <c:pt idx="13">
                  <c:v>HYDRO 5 DRY SKIN 5 BLADE RAZOR DRY 17CT</c:v>
                </c:pt>
              </c:strCache>
            </c:strRef>
          </c:cat>
          <c:val>
            <c:numRef>
              <c:f>Sheet1!$B$2:$B$16</c:f>
              <c:numCache>
                <c:formatCode>General</c:formatCode>
                <c:ptCount val="15"/>
                <c:pt idx="0">
                  <c:v>6.78</c:v>
                </c:pt>
                <c:pt idx="1">
                  <c:v>6.78</c:v>
                </c:pt>
                <c:pt idx="2">
                  <c:v>14.97</c:v>
                </c:pt>
                <c:pt idx="3">
                  <c:v>11.52</c:v>
                </c:pt>
                <c:pt idx="4">
                  <c:v>9.97</c:v>
                </c:pt>
                <c:pt idx="5">
                  <c:v>26.97</c:v>
                </c:pt>
                <c:pt idx="6">
                  <c:v>15.72</c:v>
                </c:pt>
                <c:pt idx="7">
                  <c:v>6.78</c:v>
                </c:pt>
                <c:pt idx="8">
                  <c:v>9.99</c:v>
                </c:pt>
                <c:pt idx="9">
                  <c:v>14.13</c:v>
                </c:pt>
                <c:pt idx="10">
                  <c:v>11.52</c:v>
                </c:pt>
                <c:pt idx="11">
                  <c:v>15.72</c:v>
                </c:pt>
                <c:pt idx="12">
                  <c:v>14.97</c:v>
                </c:pt>
                <c:pt idx="13">
                  <c:v>11.99</c:v>
                </c:pt>
                <c:pt idx="14">
                  <c:v>27.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6.97</a:t>
                    </a:r>
                  </a:p>
                </c:rich>
              </c:tx>
              <c:showLegendKey val="0"/>
              <c:showVal val="1"/>
              <c:showCatName val="0"/>
              <c:showSerName val="0"/>
              <c:showPercent val="0"/>
              <c:showBubbleSize val="0"/>
            </c:dLbl>
            <c:dLbl>
              <c:idx val="3"/>
              <c:tx>
                <c:rich>
                  <a:bodyPr/>
                  <a:lstStyle/>
                  <a:p>
                    <a:r>
                      <a:t>9.99</a:t>
                    </a:r>
                  </a:p>
                </c:rich>
              </c:tx>
              <c:showLegendKey val="0"/>
              <c:showVal val="1"/>
              <c:showCatName val="0"/>
              <c:showSerName val="0"/>
              <c:showPercent val="0"/>
              <c:showBubbleSize val="0"/>
            </c:dLbl>
            <c:dLbl>
              <c:idx val="4"/>
              <c:tx>
                <c:rich>
                  <a:bodyPr/>
                  <a:lstStyle/>
                  <a:p>
                    <a:r>
                      <a:t>14.13</a:t>
                    </a:r>
                  </a:p>
                </c:rich>
              </c:tx>
              <c:showLegendKey val="0"/>
              <c:showVal val="1"/>
              <c:showCatName val="0"/>
              <c:showSerName val="0"/>
              <c:showPercent val="0"/>
              <c:showBubbleSize val="0"/>
            </c:dLbl>
            <c:dLbl>
              <c:idx val="5"/>
              <c:tx>
                <c:rich>
                  <a:bodyPr/>
                  <a:lstStyle/>
                  <a:p>
                    <a:r>
                      <a:t>14.97</a:t>
                    </a:r>
                  </a:p>
                </c:rich>
              </c:tx>
              <c:showLegendKey val="0"/>
              <c:showVal val="1"/>
              <c:showCatName val="0"/>
              <c:showSerName val="0"/>
              <c:showPercent val="0"/>
              <c:showBubbleSize val="0"/>
            </c:dLbl>
            <c:dLbl>
              <c:idx val="6"/>
              <c:tx>
                <c:rich>
                  <a:bodyPr/>
                  <a:lstStyle/>
                  <a:p>
                    <a:r>
                      <a:t>11.99</a:t>
                    </a:r>
                  </a:p>
                </c:rich>
              </c:tx>
              <c:showLegendKey val="0"/>
              <c:showVal val="1"/>
              <c:showCatName val="0"/>
              <c:showSerName val="0"/>
              <c:showPercent val="0"/>
              <c:showBubbleSize val="0"/>
            </c:dLbl>
            <c:dLbl>
              <c:idx val="7"/>
              <c:tx>
                <c:rich>
                  <a:bodyPr/>
                  <a:lstStyle/>
                  <a:p>
                    <a:r>
                      <a:t>27.75</a:t>
                    </a:r>
                  </a:p>
                </c:rich>
              </c:tx>
              <c:showLegendKey val="0"/>
              <c:showVal val="1"/>
              <c:showCatName val="0"/>
              <c:showSerName val="0"/>
              <c:showPercent val="0"/>
              <c:showBubbleSize val="0"/>
            </c:dLbl>
            <c:dLbl>
              <c:idx val="8"/>
              <c:tx>
                <c:rich>
                  <a:bodyPr/>
                  <a:lstStyle/>
                  <a:p>
                    <a:r>
                      <a:t>9.79</a:t>
                    </a:r>
                  </a:p>
                </c:rich>
              </c:tx>
              <c:showLegendKey val="0"/>
              <c:showVal val="1"/>
              <c:showCatName val="0"/>
              <c:showSerName val="0"/>
              <c:showPercent val="0"/>
              <c:showBubbleSize val="0"/>
            </c:dLbl>
            <c:dLbl>
              <c:idx val="9"/>
              <c:tx>
                <c:rich>
                  <a:bodyPr/>
                  <a:lstStyle/>
                  <a:p>
                    <a:r>
                      <a:t>11.47</a:t>
                    </a:r>
                  </a:p>
                </c:rich>
              </c:tx>
              <c:showLegendKey val="0"/>
              <c:showVal val="1"/>
              <c:showCatName val="0"/>
              <c:showSerName val="0"/>
              <c:showPercent val="0"/>
              <c:showBubbleSize val="0"/>
            </c:dLbl>
            <c:dLbl>
              <c:idx val="10"/>
              <c:tx>
                <c:rich>
                  <a:bodyPr/>
                  <a:lstStyle/>
                  <a:p>
                    <a:r>
                      <a:t>6.05</a:t>
                    </a:r>
                  </a:p>
                </c:rich>
              </c:tx>
              <c:showLegendKey val="0"/>
              <c:showVal val="1"/>
              <c:showCatName val="0"/>
              <c:showSerName val="0"/>
              <c:showPercent val="0"/>
              <c:showBubbleSize val="0"/>
            </c:dLbl>
            <c:dLbl>
              <c:idx val="11"/>
              <c:tx>
                <c:rich>
                  <a:bodyPr/>
                  <a:lstStyle/>
                  <a:p>
                    <a:r>
                      <a:t>6.74</a:t>
                    </a:r>
                  </a:p>
                </c:rich>
              </c:tx>
              <c:showLegendKey val="0"/>
              <c:showVal val="1"/>
              <c:showCatName val="0"/>
              <c:showSerName val="0"/>
              <c:showPercent val="0"/>
              <c:showBubbleSize val="0"/>
            </c:dLbl>
            <c:dLbl>
              <c:idx val="12"/>
              <c:tx>
                <c:rich>
                  <a:bodyPr/>
                  <a:lstStyle/>
                  <a:p>
                    <a:r>
                      <a:t>10.97</a:t>
                    </a:r>
                  </a:p>
                </c:rich>
              </c:tx>
              <c:showLegendKey val="0"/>
              <c:showVal val="1"/>
              <c:showCatName val="0"/>
              <c:showSerName val="0"/>
              <c:showPercent val="0"/>
              <c:showBubbleSize val="0"/>
            </c:dLbl>
            <c:dLbl>
              <c:idx val="13"/>
              <c:tx>
                <c:rich>
                  <a:bodyPr/>
                  <a:lstStyle/>
                  <a:p>
                    <a:r>
                      <a:t>10.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AZOR SENSITIVE 3CT</c:v>
                </c:pt>
                <c:pt idx="2">
                  <c:v>HYDRO 5 SENSITIVE 5 BLADE REFILL SENSITIVE 12CT</c:v>
                </c:pt>
                <c:pt idx="3">
                  <c:v>SCHICK HYDRO 3 SENSITIVE 3 BLADE RAZOR SENSITIVE 4CT</c:v>
                </c:pt>
                <c:pt idx="4">
                  <c:v>CREMO 5 BLADE REFILL NORMAL 4CT</c:v>
                </c:pt>
                <c:pt idx="5">
                  <c:v>CREMO 5 BLADE RAZOR NORMAL 2CT</c:v>
                </c:pt>
                <c:pt idx="6">
                  <c:v>HYDRO 5 DRY SKIN 5 BLADE RAZOR DRY 17CT</c:v>
                </c:pt>
                <c:pt idx="7">
                  <c:v>BULLDOG 5 BLADE REFILL NORMAL 4CT</c:v>
                </c:pt>
                <c:pt idx="8">
                  <c:v>BIC COMFORT 3 HYBRID 3 BLADE HYBRID NORMAL 12CT</c:v>
                </c:pt>
                <c:pt idx="9">
                  <c:v>BIC EASYRINSE 4 BLADE HYBRID NORMAL 3CT</c:v>
                </c:pt>
                <c:pt idx="10">
                  <c:v>BIC FLEX 4 4 BLADE HYBRID NORMAL 4CT</c:v>
                </c:pt>
                <c:pt idx="11">
                  <c:v>BIC FLEX 4 4 BLADE HYBRID SENSITIVE 10CT</c:v>
                </c:pt>
                <c:pt idx="12">
                  <c:v>BIC FLEX 5 5 BLADE HYBRID SENSITIVE 8CT</c:v>
                </c:pt>
                <c:pt idx="13">
                  <c:v>BIC FLEX 5 BLACK WHITE 5 BLADE HYBRID SENSITIVE 3CT</c:v>
                </c:pt>
              </c:strCache>
            </c:strRef>
          </c:cat>
          <c:val>
            <c:numRef>
              <c:f>Sheet1!$B$2:$B$16</c:f>
              <c:numCache>
                <c:formatCode>General</c:formatCode>
                <c:ptCount val="15"/>
                <c:pt idx="0">
                  <c:v>14.97</c:v>
                </c:pt>
                <c:pt idx="1">
                  <c:v>9.97</c:v>
                </c:pt>
                <c:pt idx="2">
                  <c:v>26.97</c:v>
                </c:pt>
                <c:pt idx="3">
                  <c:v>9.99</c:v>
                </c:pt>
                <c:pt idx="4">
                  <c:v>14.13</c:v>
                </c:pt>
                <c:pt idx="5">
                  <c:v>14.97</c:v>
                </c:pt>
                <c:pt idx="6">
                  <c:v>11.99</c:v>
                </c:pt>
                <c:pt idx="7">
                  <c:v>27.75</c:v>
                </c:pt>
                <c:pt idx="8">
                  <c:v>9.79</c:v>
                </c:pt>
                <c:pt idx="9">
                  <c:v>11.47</c:v>
                </c:pt>
                <c:pt idx="10">
                  <c:v>6.05</c:v>
                </c:pt>
                <c:pt idx="11">
                  <c:v>6.74</c:v>
                </c:pt>
                <c:pt idx="12">
                  <c:v>10.97</c:v>
                </c:pt>
                <c:pt idx="13">
                  <c:v>10.97</c:v>
                </c:pt>
                <c:pt idx="14">
                  <c:v>7.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6.78</a:t>
                    </a:r>
                  </a:p>
                </c:rich>
              </c:tx>
              <c:showLegendKey val="0"/>
              <c:showVal val="1"/>
              <c:showCatName val="0"/>
              <c:showSerName val="0"/>
              <c:showPercent val="0"/>
              <c:showBubbleSize val="0"/>
            </c:dLbl>
            <c:dLbl>
              <c:idx val="2"/>
              <c:tx>
                <c:rich>
                  <a:bodyPr/>
                  <a:lstStyle/>
                  <a:p>
                    <a:r>
                      <a:t>11.52</a:t>
                    </a:r>
                  </a:p>
                </c:rich>
              </c:tx>
              <c:showLegendKey val="0"/>
              <c:showVal val="1"/>
              <c:showCatName val="0"/>
              <c:showSerName val="0"/>
              <c:showPercent val="0"/>
              <c:showBubbleSize val="0"/>
            </c:dLbl>
            <c:dLbl>
              <c:idx val="3"/>
              <c:tx>
                <c:rich>
                  <a:bodyPr/>
                  <a:lstStyle/>
                  <a:p>
                    <a:r>
                      <a:t>15.72</a:t>
                    </a:r>
                  </a:p>
                </c:rich>
              </c:tx>
              <c:showLegendKey val="0"/>
              <c:showVal val="1"/>
              <c:showCatName val="0"/>
              <c:showSerName val="0"/>
              <c:showPercent val="0"/>
              <c:showBubbleSize val="0"/>
            </c:dLbl>
            <c:dLbl>
              <c:idx val="4"/>
              <c:tx>
                <c:rich>
                  <a:bodyPr/>
                  <a:lstStyle/>
                  <a:p>
                    <a:r>
                      <a:t>6.78</a:t>
                    </a:r>
                  </a:p>
                </c:rich>
              </c:tx>
              <c:showLegendKey val="0"/>
              <c:showVal val="1"/>
              <c:showCatName val="0"/>
              <c:showSerName val="0"/>
              <c:showPercent val="0"/>
              <c:showBubbleSize val="0"/>
            </c:dLbl>
            <c:dLbl>
              <c:idx val="5"/>
              <c:tx>
                <c:rich>
                  <a:bodyPr/>
                  <a:lstStyle/>
                  <a:p>
                    <a:r>
                      <a:t>11.52</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11.29</a:t>
                    </a:r>
                  </a:p>
                </c:rich>
              </c:tx>
              <c:showLegendKey val="0"/>
              <c:showVal val="1"/>
              <c:showCatName val="0"/>
              <c:showSerName val="0"/>
              <c:showPercent val="0"/>
              <c:showBubbleSize val="0"/>
            </c:dLbl>
            <c:dLbl>
              <c:idx val="9"/>
              <c:tx>
                <c:rich>
                  <a:bodyPr/>
                  <a:lstStyle/>
                  <a:p>
                    <a:r>
                      <a:t>4.17</a:t>
                    </a:r>
                  </a:p>
                </c:rich>
              </c:tx>
              <c:showLegendKey val="0"/>
              <c:showVal val="1"/>
              <c:showCatName val="0"/>
              <c:showSerName val="0"/>
              <c:showPercent val="0"/>
              <c:showBubbleSize val="0"/>
            </c:dLbl>
            <c:dLbl>
              <c:idx val="10"/>
              <c:tx>
                <c:rich>
                  <a:bodyPr/>
                  <a:lstStyle/>
                  <a:p>
                    <a:r>
                      <a:t>5.22</a:t>
                    </a:r>
                  </a:p>
                </c:rich>
              </c:tx>
              <c:showLegendKey val="0"/>
              <c:showVal val="1"/>
              <c:showCatName val="0"/>
              <c:showSerName val="0"/>
              <c:showPercent val="0"/>
              <c:showBubbleSize val="0"/>
            </c:dLbl>
            <c:dLbl>
              <c:idx val="11"/>
              <c:tx>
                <c:rich>
                  <a:bodyPr/>
                  <a:lstStyle/>
                  <a:p>
                    <a:r>
                      <a:t>6.74</a:t>
                    </a:r>
                  </a:p>
                </c:rich>
              </c:tx>
              <c:showLegendKey val="0"/>
              <c:showVal val="1"/>
              <c:showCatName val="0"/>
              <c:showSerName val="0"/>
              <c:showPercent val="0"/>
              <c:showBubbleSize val="0"/>
            </c:dLbl>
            <c:dLbl>
              <c:idx val="12"/>
              <c:tx>
                <c:rich>
                  <a:bodyPr/>
                  <a:lstStyle/>
                  <a:p>
                    <a:r>
                      <a:t>7.27</a:t>
                    </a:r>
                  </a:p>
                </c:rich>
              </c:tx>
              <c:showLegendKey val="0"/>
              <c:showVal val="1"/>
              <c:showCatName val="0"/>
              <c:showSerName val="0"/>
              <c:showPercent val="0"/>
              <c:showBubbleSize val="0"/>
            </c:dLbl>
            <c:dLbl>
              <c:idx val="13"/>
              <c:tx>
                <c:rich>
                  <a:bodyPr/>
                  <a:lstStyle/>
                  <a:p>
                    <a:r>
                      <a:t>7.27</a:t>
                    </a:r>
                  </a:p>
                </c:rich>
              </c:tx>
              <c:showLegendKey val="0"/>
              <c:showVal val="1"/>
              <c:showCatName val="0"/>
              <c:showSerName val="0"/>
              <c:showPercent val="0"/>
              <c:showBubbleSize val="0"/>
            </c:dLbl>
            <c:dLbl>
              <c:idx val="14"/>
              <c:tx>
                <c:rich>
                  <a:bodyPr/>
                  <a:lstStyle/>
                  <a:p>
                    <a:r>
                      <a:t>8.3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SCHICK XTREME 3 3 BLADE DISPOSABLE SENSITIVE 6CT</c:v>
                </c:pt>
                <c:pt idx="8">
                  <c:v>BIC 3 SENSITIVE 3 BLADE DISPOSABLE NORMAL 12CT</c:v>
                </c:pt>
                <c:pt idx="9">
                  <c:v>BIC COMFORT 3 MULTI COLOR 3 BLADE DISPOSABLE SENSITIVE 4CT</c:v>
                </c:pt>
                <c:pt idx="10">
                  <c:v>BIC FLEX 3 3 BLADE DISPOSABLE NORMAL 2CT</c:v>
                </c:pt>
                <c:pt idx="11">
                  <c:v>BIC FLEX 4 4 BLADE DISPOSABLE SENSITIVE 3CT</c:v>
                </c:pt>
                <c:pt idx="12">
                  <c:v>BIC FLEX 5 BLACK WHITE 5 BLADE DISPOSABLE NORMAL 2CT</c:v>
                </c:pt>
                <c:pt idx="13">
                  <c:v>BIC FLEX 5 BLACK WHITE 5 BLADE DISPOSABLE SENSITIVE 2CT</c:v>
                </c:pt>
                <c:pt idx="14">
                  <c:v>BIC SENSITIVE 2 2 BLADE DISPOSABLE NORMAL 10CT</c:v>
                </c:pt>
              </c:strCache>
            </c:strRef>
          </c:cat>
          <c:val>
            <c:numRef>
              <c:f>Sheet1!$B$2:$B$16</c:f>
              <c:numCache>
                <c:formatCode>General</c:formatCode>
                <c:ptCount val="15"/>
                <c:pt idx="0">
                  <c:v>6.78</c:v>
                </c:pt>
                <c:pt idx="1">
                  <c:v>6.78</c:v>
                </c:pt>
                <c:pt idx="2">
                  <c:v>11.52</c:v>
                </c:pt>
                <c:pt idx="3">
                  <c:v>15.72</c:v>
                </c:pt>
                <c:pt idx="4">
                  <c:v>6.78</c:v>
                </c:pt>
                <c:pt idx="5">
                  <c:v>11.52</c:v>
                </c:pt>
                <c:pt idx="6">
                  <c:v>15.72</c:v>
                </c:pt>
                <c:pt idx="7">
                  <c:v>6.78</c:v>
                </c:pt>
                <c:pt idx="8">
                  <c:v>11.29</c:v>
                </c:pt>
                <c:pt idx="9">
                  <c:v>4.17</c:v>
                </c:pt>
                <c:pt idx="10">
                  <c:v>5.22</c:v>
                </c:pt>
                <c:pt idx="11">
                  <c:v>6.74</c:v>
                </c:pt>
                <c:pt idx="12">
                  <c:v>7.27</c:v>
                </c:pt>
                <c:pt idx="13">
                  <c:v>7.27</c:v>
                </c:pt>
                <c:pt idx="14">
                  <c:v>8.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11.99</a:t>
                    </a:r>
                  </a:p>
                </c:rich>
              </c:tx>
              <c:showLegendKey val="0"/>
              <c:showVal val="1"/>
              <c:showCatName val="0"/>
              <c:showSerName val="0"/>
              <c:showPercent val="0"/>
              <c:showBubbleSize val="0"/>
            </c:dLbl>
            <c:dLbl>
              <c:idx val="4"/>
              <c:tx>
                <c:rich>
                  <a:bodyPr/>
                  <a:lstStyle/>
                  <a:p>
                    <a:r>
                      <a:t>27.75</a:t>
                    </a:r>
                  </a:p>
                </c:rich>
              </c:tx>
              <c:showLegendKey val="0"/>
              <c:showVal val="1"/>
              <c:showCatName val="0"/>
              <c:showSerName val="0"/>
              <c:showPercent val="0"/>
              <c:showBubbleSize val="0"/>
            </c:dLbl>
            <c:dLbl>
              <c:idx val="5"/>
              <c:tx>
                <c:rich>
                  <a:bodyPr/>
                  <a:lstStyle/>
                  <a:p>
                    <a:r>
                      <a:t>14.97</a:t>
                    </a:r>
                  </a:p>
                </c:rich>
              </c:tx>
              <c:showLegendKey val="0"/>
              <c:showVal val="1"/>
              <c:showCatName val="0"/>
              <c:showSerName val="0"/>
              <c:showPercent val="0"/>
              <c:showBubbleSize val="0"/>
            </c:dLbl>
            <c:dLbl>
              <c:idx val="6"/>
              <c:tx>
                <c:rich>
                  <a:bodyPr/>
                  <a:lstStyle/>
                  <a:p>
                    <a:r>
                      <a:t>12.24</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7.97</a:t>
                    </a:r>
                  </a:p>
                </c:rich>
              </c:tx>
              <c:showLegendKey val="0"/>
              <c:showVal val="1"/>
              <c:showCatName val="0"/>
              <c:showSerName val="0"/>
              <c:showPercent val="0"/>
              <c:showBubbleSize val="0"/>
            </c:dLbl>
            <c:dLbl>
              <c:idx val="9"/>
              <c:tx>
                <c:rich>
                  <a:bodyPr/>
                  <a:lstStyle/>
                  <a:p>
                    <a:r>
                      <a:t>10.47</a:t>
                    </a:r>
                  </a:p>
                </c:rich>
              </c:tx>
              <c:showLegendKey val="0"/>
              <c:showVal val="1"/>
              <c:showCatName val="0"/>
              <c:showSerName val="0"/>
              <c:showPercent val="0"/>
              <c:showBubbleSize val="0"/>
            </c:dLbl>
            <c:dLbl>
              <c:idx val="10"/>
              <c:tx>
                <c:rich>
                  <a:bodyPr/>
                  <a:lstStyle/>
                  <a:p>
                    <a:r>
                      <a:t>12.25</a:t>
                    </a:r>
                  </a:p>
                </c:rich>
              </c:tx>
              <c:showLegendKey val="0"/>
              <c:showVal val="1"/>
              <c:showCatName val="0"/>
              <c:showSerName val="0"/>
              <c:showPercent val="0"/>
              <c:showBubbleSize val="0"/>
            </c:dLbl>
            <c:dLbl>
              <c:idx val="11"/>
              <c:tx>
                <c:rich>
                  <a:bodyPr/>
                  <a:lstStyle/>
                  <a:p>
                    <a:r>
                      <a:t>13.97</a:t>
                    </a:r>
                  </a:p>
                </c:rich>
              </c:tx>
              <c:showLegendKey val="0"/>
              <c:showVal val="1"/>
              <c:showCatName val="0"/>
              <c:showSerName val="0"/>
              <c:showPercent val="0"/>
              <c:showBubbleSize val="0"/>
            </c:dLbl>
            <c:dLbl>
              <c:idx val="12"/>
              <c:tx>
                <c:rich>
                  <a:bodyPr/>
                  <a:lstStyle/>
                  <a:p>
                    <a:r>
                      <a:t>29.97</a:t>
                    </a:r>
                  </a:p>
                </c:rich>
              </c:tx>
              <c:showLegendKey val="0"/>
              <c:showVal val="1"/>
              <c:showCatName val="0"/>
              <c:showSerName val="0"/>
              <c:showPercent val="0"/>
              <c:showBubbleSize val="0"/>
            </c:dLbl>
            <c:dLbl>
              <c:idx val="13"/>
              <c:tx>
                <c:rich>
                  <a:bodyPr/>
                  <a:lstStyle/>
                  <a:p>
                    <a:r>
                      <a:t>1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AZOR SENSITIVE 3CT</c:v>
                </c:pt>
                <c:pt idx="1">
                  <c:v>SCHICK HYDRO 3 SENSITIVE 3 BLADE RAZOR SENSITIVE 4CT</c:v>
                </c:pt>
                <c:pt idx="2">
                  <c:v>CREMO 5 BLADE RAZOR NORMAL 2CT</c:v>
                </c:pt>
                <c:pt idx="3">
                  <c:v>HYDRO 5 DRY SKIN 5 BLADE RAZOR DRY 17CT</c:v>
                </c:pt>
                <c:pt idx="4">
                  <c:v>HARRY'S CRAFT HANDLE SILVER 5 BLADE RAZOR NORMAL 2CT</c:v>
                </c:pt>
                <c:pt idx="5">
                  <c:v>HARRY'S LIGHT ORANGE 5 BLADE RAZOR NORMAL 2CT</c:v>
                </c:pt>
                <c:pt idx="6">
                  <c:v>HARRY'S SILVER 5 BLADE RAZOR NORMAL 2CT</c:v>
                </c:pt>
                <c:pt idx="7">
                  <c:v>HARRY'S SILVER 5 BLADE RAZOR NORMAL 5CT</c:v>
                </c:pt>
                <c:pt idx="8">
                  <c:v>HARRY'S SURF BLUE 5 BLADE RAZOR NORMAL 2CT</c:v>
                </c:pt>
                <c:pt idx="9">
                  <c:v>GILLETTE FUSION 5 5 BLADE RAZOR NORMAL 1CT</c:v>
                </c:pt>
                <c:pt idx="10">
                  <c:v>GILLETTE FUSION 5 5 BLADE RAZOR NORMAL 2CT</c:v>
                </c:pt>
                <c:pt idx="11">
                  <c:v>GILLETTE FUSION 5 5 BLADE RAZOR NORMAL 7CT</c:v>
                </c:pt>
                <c:pt idx="12">
                  <c:v>GILLETTE FUSION 5 PROGLIDE 5 BLADE RAZOR NORMAL 1CT</c:v>
                </c:pt>
                <c:pt idx="13">
                  <c:v>GILLETTE FUSION 5 PROGLIDE 5 BLADE RAZOR NORMAL 2CT</c:v>
                </c:pt>
              </c:strCache>
            </c:strRef>
          </c:cat>
          <c:val>
            <c:numRef>
              <c:f>Sheet1!$B$2:$B$16</c:f>
              <c:numCache>
                <c:formatCode>General</c:formatCode>
                <c:ptCount val="15"/>
                <c:pt idx="0">
                  <c:v>9.97</c:v>
                </c:pt>
                <c:pt idx="1">
                  <c:v>9.99</c:v>
                </c:pt>
                <c:pt idx="2">
                  <c:v>14.97</c:v>
                </c:pt>
                <c:pt idx="3">
                  <c:v>11.99</c:v>
                </c:pt>
                <c:pt idx="4">
                  <c:v>27.75</c:v>
                </c:pt>
                <c:pt idx="5">
                  <c:v>14.97</c:v>
                </c:pt>
                <c:pt idx="6">
                  <c:v>12.24</c:v>
                </c:pt>
                <c:pt idx="7">
                  <c:v>11.97</c:v>
                </c:pt>
                <c:pt idx="8">
                  <c:v>17.97</c:v>
                </c:pt>
                <c:pt idx="9">
                  <c:v>10.47</c:v>
                </c:pt>
                <c:pt idx="10">
                  <c:v>12.25</c:v>
                </c:pt>
                <c:pt idx="11">
                  <c:v>13.97</c:v>
                </c:pt>
                <c:pt idx="12">
                  <c:v>29.97</c:v>
                </c:pt>
                <c:pt idx="13">
                  <c:v>13.97</c:v>
                </c:pt>
                <c:pt idx="14">
                  <c:v>1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26.97</a:t>
                    </a:r>
                  </a:p>
                </c:rich>
              </c:tx>
              <c:showLegendKey val="0"/>
              <c:showVal val="1"/>
              <c:showCatName val="0"/>
              <c:showSerName val="0"/>
              <c:showPercent val="0"/>
              <c:showBubbleSize val="0"/>
            </c:dLbl>
            <c:dLbl>
              <c:idx val="2"/>
              <c:tx>
                <c:rich>
                  <a:bodyPr/>
                  <a:lstStyle/>
                  <a:p>
                    <a:r>
                      <a:t>14.13</a:t>
                    </a:r>
                  </a:p>
                </c:rich>
              </c:tx>
              <c:showLegendKey val="0"/>
              <c:showVal val="1"/>
              <c:showCatName val="0"/>
              <c:showSerName val="0"/>
              <c:showPercent val="0"/>
              <c:showBubbleSize val="0"/>
            </c:dLbl>
            <c:dLbl>
              <c:idx val="3"/>
              <c:tx>
                <c:rich>
                  <a:bodyPr/>
                  <a:lstStyle/>
                  <a:p>
                    <a:r>
                      <a:t>9.79</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7</a:t>
                    </a:r>
                  </a:p>
                </c:rich>
              </c:tx>
              <c:showLegendKey val="0"/>
              <c:showVal val="1"/>
              <c:showCatName val="0"/>
              <c:showSerName val="0"/>
              <c:showPercent val="0"/>
              <c:showBubbleSize val="0"/>
            </c:dLbl>
            <c:dLbl>
              <c:idx val="6"/>
              <c:tx>
                <c:rich>
                  <a:bodyPr/>
                  <a:lstStyle/>
                  <a:p>
                    <a:r>
                      <a:t>24.97</a:t>
                    </a:r>
                  </a:p>
                </c:rich>
              </c:tx>
              <c:showLegendKey val="0"/>
              <c:showVal val="1"/>
              <c:showCatName val="0"/>
              <c:showSerName val="0"/>
              <c:showPercent val="0"/>
              <c:showBubbleSize val="0"/>
            </c:dLbl>
            <c:dLbl>
              <c:idx val="7"/>
              <c:tx>
                <c:rich>
                  <a:bodyPr/>
                  <a:lstStyle/>
                  <a:p>
                    <a:r>
                      <a:t>39.97</a:t>
                    </a:r>
                  </a:p>
                </c:rich>
              </c:tx>
              <c:showLegendKey val="0"/>
              <c:showVal val="1"/>
              <c:showCatName val="0"/>
              <c:showSerName val="0"/>
              <c:showPercent val="0"/>
              <c:showBubbleSize val="0"/>
            </c:dLbl>
            <c:dLbl>
              <c:idx val="8"/>
              <c:tx>
                <c:rich>
                  <a:bodyPr/>
                  <a:lstStyle/>
                  <a:p>
                    <a:r>
                      <a:t>16.97</a:t>
                    </a:r>
                  </a:p>
                </c:rich>
              </c:tx>
              <c:showLegendKey val="0"/>
              <c:showVal val="1"/>
              <c:showCatName val="0"/>
              <c:showSerName val="0"/>
              <c:showPercent val="0"/>
              <c:showBubbleSize val="0"/>
            </c:dLbl>
            <c:dLbl>
              <c:idx val="9"/>
              <c:tx>
                <c:rich>
                  <a:bodyPr/>
                  <a:lstStyle/>
                  <a:p>
                    <a:r>
                      <a:t>17.97</a:t>
                    </a:r>
                  </a:p>
                </c:rich>
              </c:tx>
              <c:showLegendKey val="0"/>
              <c:showVal val="1"/>
              <c:showCatName val="0"/>
              <c:showSerName val="0"/>
              <c:showPercent val="0"/>
              <c:showBubbleSize val="0"/>
            </c:dLbl>
            <c:dLbl>
              <c:idx val="10"/>
              <c:tx>
                <c:rich>
                  <a:bodyPr/>
                  <a:lstStyle/>
                  <a:p>
                    <a:r>
                      <a:t>17.97</a:t>
                    </a:r>
                  </a:p>
                </c:rich>
              </c:tx>
              <c:showLegendKey val="0"/>
              <c:showVal val="1"/>
              <c:showCatName val="0"/>
              <c:showSerName val="0"/>
              <c:showPercent val="0"/>
              <c:showBubbleSize val="0"/>
            </c:dLbl>
            <c:dLbl>
              <c:idx val="11"/>
              <c:tx>
                <c:rich>
                  <a:bodyPr/>
                  <a:lstStyle/>
                  <a:p>
                    <a:r>
                      <a:t>14.99</a:t>
                    </a:r>
                  </a:p>
                </c:rich>
              </c:tx>
              <c:showLegendKey val="0"/>
              <c:showVal val="1"/>
              <c:showCatName val="0"/>
              <c:showSerName val="0"/>
              <c:showPercent val="0"/>
              <c:showBubbleSize val="0"/>
            </c:dLbl>
            <c:dLbl>
              <c:idx val="12"/>
              <c:tx>
                <c:rich>
                  <a:bodyPr/>
                  <a:lstStyle/>
                  <a:p>
                    <a:r>
                      <a:t>19.97</a:t>
                    </a:r>
                  </a:p>
                </c:rich>
              </c:tx>
              <c:showLegendKey val="0"/>
              <c:showVal val="1"/>
              <c:showCatName val="0"/>
              <c:showSerName val="0"/>
              <c:showPercent val="0"/>
              <c:showBubbleSize val="0"/>
            </c:dLbl>
            <c:dLbl>
              <c:idx val="13"/>
              <c:tx>
                <c:rich>
                  <a:bodyPr/>
                  <a:lstStyle/>
                  <a:p>
                    <a:r>
                      <a:t>28.97</a:t>
                    </a:r>
                  </a:p>
                </c:rich>
              </c:tx>
              <c:showLegendKey val="0"/>
              <c:showVal val="1"/>
              <c:showCatName val="0"/>
              <c:showSerName val="0"/>
              <c:showPercent val="0"/>
              <c:showBubbleSize val="0"/>
            </c:dLbl>
            <c:dLbl>
              <c:idx val="14"/>
              <c:tx>
                <c:rich>
                  <a:bodyPr/>
                  <a:lstStyle/>
                  <a:p>
                    <a:r>
                      <a:t>34.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CREMO 5 BLADE REFILL NORMAL 4CT</c:v>
                </c:pt>
                <c:pt idx="3">
                  <c:v>BULLDOG 5 BLADE REFILL NORMAL 4CT</c:v>
                </c:pt>
                <c:pt idx="4">
                  <c:v>HARRY'S 5 BLADE REFILL NORMAL 4CT</c:v>
                </c:pt>
                <c:pt idx="5">
                  <c:v>HARRY'S 5 BLADE REFILL NORMAL 8CT</c:v>
                </c:pt>
                <c:pt idx="6">
                  <c:v>GILLETTE (ATRA &amp; TRAC) 2 BLADE REFILL NORMAL 10CT</c:v>
                </c:pt>
                <c:pt idx="7">
                  <c:v>GILLETTE FUSION 5 5 BLADE REFILL NORMAL 12CT</c:v>
                </c:pt>
                <c:pt idx="8">
                  <c:v>GILLETTE FUSION 5 5 BLADE REFILL NORMAL 4CT</c:v>
                </c:pt>
                <c:pt idx="9">
                  <c:v>GILLETTE FUSION 5 PROGLIDE 5 BLADE REFILL NORMAL 4CT</c:v>
                </c:pt>
                <c:pt idx="10">
                  <c:v>GILLETTE FUSION 5 PROSHIELD 5 BLADE REFILL NORMAL 4CT</c:v>
                </c:pt>
                <c:pt idx="11">
                  <c:v>GILLETTE INTIMATE 5 BLADE REFILL NORMAL 4CT</c:v>
                </c:pt>
                <c:pt idx="12">
                  <c:v>GILLETTE LABS 5 BLADE REFILL NORMAL 4CT</c:v>
                </c:pt>
                <c:pt idx="13">
                  <c:v>GILLETTE LABS 5 BLADE REFILL NORMAL 6CT</c:v>
                </c:pt>
                <c:pt idx="14">
                  <c:v>GILLETTE LABS 5 BLADE REFILL NORMAL 9CT</c:v>
                </c:pt>
              </c:strCache>
            </c:strRef>
          </c:cat>
          <c:val>
            <c:numRef>
              <c:f>Sheet1!$B$2:$B$16</c:f>
              <c:numCache>
                <c:formatCode>General</c:formatCode>
                <c:ptCount val="15"/>
                <c:pt idx="0">
                  <c:v>14.97</c:v>
                </c:pt>
                <c:pt idx="1">
                  <c:v>26.97</c:v>
                </c:pt>
                <c:pt idx="2">
                  <c:v>14.13</c:v>
                </c:pt>
                <c:pt idx="3">
                  <c:v>9.79</c:v>
                </c:pt>
                <c:pt idx="4">
                  <c:v>9.97</c:v>
                </c:pt>
                <c:pt idx="5">
                  <c:v>16.97</c:v>
                </c:pt>
                <c:pt idx="6">
                  <c:v>24.97</c:v>
                </c:pt>
                <c:pt idx="7">
                  <c:v>39.97</c:v>
                </c:pt>
                <c:pt idx="8">
                  <c:v>16.97</c:v>
                </c:pt>
                <c:pt idx="9">
                  <c:v>17.97</c:v>
                </c:pt>
                <c:pt idx="10">
                  <c:v>17.97</c:v>
                </c:pt>
                <c:pt idx="11">
                  <c:v>14.99</c:v>
                </c:pt>
                <c:pt idx="12">
                  <c:v>19.97</c:v>
                </c:pt>
                <c:pt idx="13">
                  <c:v>28.97</c:v>
                </c:pt>
                <c:pt idx="14">
                  <c:v>34.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4</a:t>
                    </a:r>
                  </a:p>
                </c:rich>
              </c:tx>
              <c:showLegendKey val="0"/>
              <c:showVal val="1"/>
              <c:showCatName val="0"/>
              <c:showSerName val="0"/>
              <c:showPercent val="0"/>
              <c:showBubbleSize val="0"/>
            </c:dLbl>
            <c:dLbl>
              <c:idx val="1"/>
              <c:tx>
                <c:rich>
                  <a:bodyPr/>
                  <a:lstStyle/>
                  <a:p>
                    <a:r>
                      <a:t>5.74</a:t>
                    </a:r>
                  </a:p>
                </c:rich>
              </c:tx>
              <c:showLegendKey val="0"/>
              <c:showVal val="1"/>
              <c:showCatName val="0"/>
              <c:showSerName val="0"/>
              <c:showPercent val="0"/>
              <c:showBubbleSize val="0"/>
            </c:dLbl>
            <c:dLbl>
              <c:idx val="2"/>
              <c:tx>
                <c:rich>
                  <a:bodyPr/>
                  <a:lstStyle/>
                  <a:p>
                    <a:r>
                      <a:t>7.97</a:t>
                    </a:r>
                  </a:p>
                </c:rich>
              </c:tx>
              <c:showLegendKey val="0"/>
              <c:showVal val="1"/>
              <c:showCatName val="0"/>
              <c:showSerName val="0"/>
              <c:showPercent val="0"/>
              <c:showBubbleSize val="0"/>
            </c:dLbl>
            <c:dLbl>
              <c:idx val="3"/>
              <c:tx>
                <c:rich>
                  <a:bodyPr/>
                  <a:lstStyle/>
                  <a:p>
                    <a:r>
                      <a:t>14.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5.98</a:t>
                    </a:r>
                  </a:p>
                </c:rich>
              </c:tx>
              <c:showLegendKey val="0"/>
              <c:showVal val="1"/>
              <c:showCatName val="0"/>
              <c:showSerName val="0"/>
              <c:showPercent val="0"/>
              <c:showBubbleSize val="0"/>
            </c:dLbl>
            <c:dLbl>
              <c:idx val="6"/>
              <c:tx>
                <c:rich>
                  <a:bodyPr/>
                  <a:lstStyle/>
                  <a:p>
                    <a:r>
                      <a:t>2.08</a:t>
                    </a:r>
                  </a:p>
                </c:rich>
              </c:tx>
              <c:showLegendKey val="0"/>
              <c:showVal val="1"/>
              <c:showCatName val="0"/>
              <c:showSerName val="0"/>
              <c:showPercent val="0"/>
              <c:showBubbleSize val="0"/>
            </c:dLbl>
            <c:dLbl>
              <c:idx val="7"/>
              <c:tx>
                <c:rich>
                  <a:bodyPr/>
                  <a:lstStyle/>
                  <a:p>
                    <a:r>
                      <a:t>1.06</a:t>
                    </a:r>
                  </a:p>
                </c:rich>
              </c:tx>
              <c:showLegendKey val="0"/>
              <c:showVal val="1"/>
              <c:showCatName val="0"/>
              <c:showSerName val="0"/>
              <c:showPercent val="0"/>
              <c:showBubbleSize val="0"/>
            </c:dLbl>
            <c:dLbl>
              <c:idx val="8"/>
              <c:tx>
                <c:rich>
                  <a:bodyPr/>
                  <a:lstStyle/>
                  <a:p>
                    <a:r>
                      <a:t>11.29</a:t>
                    </a:r>
                  </a:p>
                </c:rich>
              </c:tx>
              <c:showLegendKey val="0"/>
              <c:showVal val="1"/>
              <c:showCatName val="0"/>
              <c:showSerName val="0"/>
              <c:showPercent val="0"/>
              <c:showBubbleSize val="0"/>
            </c:dLbl>
            <c:dLbl>
              <c:idx val="9"/>
              <c:tx>
                <c:rich>
                  <a:bodyPr/>
                  <a:lstStyle/>
                  <a:p>
                    <a:r>
                      <a:t>4.17</a:t>
                    </a:r>
                  </a:p>
                </c:rich>
              </c:tx>
              <c:showLegendKey val="0"/>
              <c:showVal val="1"/>
              <c:showCatName val="0"/>
              <c:showSerName val="0"/>
              <c:showPercent val="0"/>
              <c:showBubbleSize val="0"/>
            </c:dLbl>
            <c:dLbl>
              <c:idx val="10"/>
              <c:tx>
                <c:rich>
                  <a:bodyPr/>
                  <a:lstStyle/>
                  <a:p>
                    <a:r>
                      <a:t>6.05</a:t>
                    </a:r>
                  </a:p>
                </c:rich>
              </c:tx>
              <c:showLegendKey val="0"/>
              <c:showVal val="1"/>
              <c:showCatName val="0"/>
              <c:showSerName val="0"/>
              <c:showPercent val="0"/>
              <c:showBubbleSize val="0"/>
            </c:dLbl>
            <c:dLbl>
              <c:idx val="11"/>
              <c:tx>
                <c:rich>
                  <a:bodyPr/>
                  <a:lstStyle/>
                  <a:p>
                    <a:r>
                      <a:t>5.22</a:t>
                    </a:r>
                  </a:p>
                </c:rich>
              </c:tx>
              <c:showLegendKey val="0"/>
              <c:showVal val="1"/>
              <c:showCatName val="0"/>
              <c:showSerName val="0"/>
              <c:showPercent val="0"/>
              <c:showBubbleSize val="0"/>
            </c:dLbl>
            <c:dLbl>
              <c:idx val="12"/>
              <c:tx>
                <c:rich>
                  <a:bodyPr/>
                  <a:lstStyle/>
                  <a:p>
                    <a:r>
                      <a:t>6.74</a:t>
                    </a:r>
                  </a:p>
                </c:rich>
              </c:tx>
              <c:showLegendKey val="0"/>
              <c:showVal val="1"/>
              <c:showCatName val="0"/>
              <c:showSerName val="0"/>
              <c:showPercent val="0"/>
              <c:showBubbleSize val="0"/>
            </c:dLbl>
            <c:dLbl>
              <c:idx val="13"/>
              <c:tx>
                <c:rich>
                  <a:bodyPr/>
                  <a:lstStyle/>
                  <a:p>
                    <a:r>
                      <a:t>6.74</a:t>
                    </a:r>
                  </a:p>
                </c:rich>
              </c:tx>
              <c:showLegendKey val="0"/>
              <c:showVal val="1"/>
              <c:showCatName val="0"/>
              <c:showSerName val="0"/>
              <c:showPercent val="0"/>
              <c:showBubbleSize val="0"/>
            </c:dLbl>
            <c:dLbl>
              <c:idx val="14"/>
              <c:tx>
                <c:rich>
                  <a:bodyPr/>
                  <a:lstStyle/>
                  <a:p>
                    <a:r>
                      <a:t>10.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3 3 BLADE DISPOSABLE NORMAL 3CT</c:v>
                </c:pt>
                <c:pt idx="1">
                  <c:v>EQUATE CALIBER 5 5 BLADE DISPOSABLE NORMAL 3CT</c:v>
                </c:pt>
                <c:pt idx="2">
                  <c:v>EQUATE EASY FIT 5 5 BLADE RAZOR NORMAL 2CT</c:v>
                </c:pt>
                <c:pt idx="3">
                  <c:v>EQUATE EASY FIT 5 5 BLADE REFILL NORMAL 12CT</c:v>
                </c:pt>
                <c:pt idx="4">
                  <c:v>EQUATE SPEED 3 SENSITIVE GREEN 3 BLADE DISPOSABLE SENSITIVE 4CT</c:v>
                </c:pt>
                <c:pt idx="5">
                  <c:v>EQUATE SPEED 3 SENSITIVE GREEN 3 BLADE DISPOSABLE SENSITIVE 8CT</c:v>
                </c:pt>
                <c:pt idx="6">
                  <c:v>EQUATE TB (TWIN BLADE) BLUE 2 BLADE DISPOSABLE NORMAL 12CT</c:v>
                </c:pt>
                <c:pt idx="7">
                  <c:v>EQUATE TB (TWIN BLADE) BLUE 2 BLADE DISPOSABLE NORMAL 5CT</c:v>
                </c:pt>
                <c:pt idx="8">
                  <c:v>BIC 3 SENSITIVE 3 BLADE DISPOSABLE NORMAL 12CT</c:v>
                </c:pt>
                <c:pt idx="9">
                  <c:v>BIC COMFORT 3 MULTI COLOR 3 BLADE DISPOSABLE SENSITIVE 4CT</c:v>
                </c:pt>
                <c:pt idx="10">
                  <c:v>BIC EASYRINSE 4 BLADE HYBRID NORMAL 3CT</c:v>
                </c:pt>
                <c:pt idx="11">
                  <c:v>BIC FLEX 3 3 BLADE DISPOSABLE NORMAL 2CT</c:v>
                </c:pt>
                <c:pt idx="12">
                  <c:v>BIC FLEX 4 4 BLADE DISPOSABLE SENSITIVE 3CT</c:v>
                </c:pt>
                <c:pt idx="13">
                  <c:v>BIC FLEX 4 4 BLADE HYBRID NORMAL 4CT</c:v>
                </c:pt>
                <c:pt idx="14">
                  <c:v>BIC FLEX 4 4 BLADE HYBRID SENSITIVE 10CT</c:v>
                </c:pt>
              </c:strCache>
            </c:strRef>
          </c:cat>
          <c:val>
            <c:numRef>
              <c:f>Sheet1!$B$2:$B$16</c:f>
              <c:numCache>
                <c:formatCode>General</c:formatCode>
                <c:ptCount val="15"/>
                <c:pt idx="0">
                  <c:v>4.34</c:v>
                </c:pt>
                <c:pt idx="1">
                  <c:v>5.74</c:v>
                </c:pt>
                <c:pt idx="2">
                  <c:v>7.97</c:v>
                </c:pt>
                <c:pt idx="3">
                  <c:v>14.97</c:v>
                </c:pt>
                <c:pt idx="4">
                  <c:v>4.16</c:v>
                </c:pt>
                <c:pt idx="5">
                  <c:v>5.98</c:v>
                </c:pt>
                <c:pt idx="6">
                  <c:v>2.08</c:v>
                </c:pt>
                <c:pt idx="7">
                  <c:v>1.06</c:v>
                </c:pt>
                <c:pt idx="8">
                  <c:v>11.29</c:v>
                </c:pt>
                <c:pt idx="9">
                  <c:v>4.17</c:v>
                </c:pt>
                <c:pt idx="10">
                  <c:v>6.05</c:v>
                </c:pt>
                <c:pt idx="11">
                  <c:v>5.22</c:v>
                </c:pt>
                <c:pt idx="12">
                  <c:v>6.74</c:v>
                </c:pt>
                <c:pt idx="13">
                  <c:v>6.74</c:v>
                </c:pt>
                <c:pt idx="14">
                  <c:v>10.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3</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1.99</a:t>
                    </a:r>
                  </a:p>
                </c:rich>
              </c:tx>
              <c:showLegendKey val="0"/>
              <c:showVal val="1"/>
              <c:showCatName val="0"/>
              <c:showSerName val="0"/>
              <c:showPercent val="0"/>
              <c:showBubbleSize val="0"/>
            </c:dLbl>
            <c:dLbl>
              <c:idx val="3"/>
              <c:tx>
                <c:rich>
                  <a:bodyPr/>
                  <a:lstStyle/>
                  <a:p>
                    <a:r>
                      <a:t>11.29</a:t>
                    </a:r>
                  </a:p>
                </c:rich>
              </c:tx>
              <c:showLegendKey val="0"/>
              <c:showVal val="1"/>
              <c:showCatName val="0"/>
              <c:showSerName val="0"/>
              <c:showPercent val="0"/>
              <c:showBubbleSize val="0"/>
            </c:dLbl>
            <c:dLbl>
              <c:idx val="4"/>
              <c:tx>
                <c:rich>
                  <a:bodyPr/>
                  <a:lstStyle/>
                  <a:p>
                    <a:r>
                      <a:t>4.17</a:t>
                    </a:r>
                  </a:p>
                </c:rich>
              </c:tx>
              <c:showLegendKey val="0"/>
              <c:showVal val="1"/>
              <c:showCatName val="0"/>
              <c:showSerName val="0"/>
              <c:showPercent val="0"/>
              <c:showBubbleSize val="0"/>
            </c:dLbl>
            <c:dLbl>
              <c:idx val="5"/>
              <c:tx>
                <c:rich>
                  <a:bodyPr/>
                  <a:lstStyle/>
                  <a:p>
                    <a:r>
                      <a:t>6.05</a:t>
                    </a:r>
                  </a:p>
                </c:rich>
              </c:tx>
              <c:showLegendKey val="0"/>
              <c:showVal val="1"/>
              <c:showCatName val="0"/>
              <c:showSerName val="0"/>
              <c:showPercent val="0"/>
              <c:showBubbleSize val="0"/>
            </c:dLbl>
            <c:dLbl>
              <c:idx val="6"/>
              <c:tx>
                <c:rich>
                  <a:bodyPr/>
                  <a:lstStyle/>
                  <a:p>
                    <a:r>
                      <a:t>5.22</a:t>
                    </a:r>
                  </a:p>
                </c:rich>
              </c:tx>
              <c:showLegendKey val="0"/>
              <c:showVal val="1"/>
              <c:showCatName val="0"/>
              <c:showSerName val="0"/>
              <c:showPercent val="0"/>
              <c:showBubbleSize val="0"/>
            </c:dLbl>
            <c:dLbl>
              <c:idx val="7"/>
              <c:tx>
                <c:rich>
                  <a:bodyPr/>
                  <a:lstStyle/>
                  <a:p>
                    <a:r>
                      <a:t>6.74</a:t>
                    </a:r>
                  </a:p>
                </c:rich>
              </c:tx>
              <c:showLegendKey val="0"/>
              <c:showVal val="1"/>
              <c:showCatName val="0"/>
              <c:showSerName val="0"/>
              <c:showPercent val="0"/>
              <c:showBubbleSize val="0"/>
            </c:dLbl>
            <c:dLbl>
              <c:idx val="8"/>
              <c:tx>
                <c:rich>
                  <a:bodyPr/>
                  <a:lstStyle/>
                  <a:p>
                    <a:r>
                      <a:t>6.74</a:t>
                    </a:r>
                  </a:p>
                </c:rich>
              </c:tx>
              <c:showLegendKey val="0"/>
              <c:showVal val="1"/>
              <c:showCatName val="0"/>
              <c:showSerName val="0"/>
              <c:showPercent val="0"/>
              <c:showBubbleSize val="0"/>
            </c:dLbl>
            <c:dLbl>
              <c:idx val="9"/>
              <c:tx>
                <c:rich>
                  <a:bodyPr/>
                  <a:lstStyle/>
                  <a:p>
                    <a:r>
                      <a:t>10.97</a:t>
                    </a:r>
                  </a:p>
                </c:rich>
              </c:tx>
              <c:showLegendKey val="0"/>
              <c:showVal val="1"/>
              <c:showCatName val="0"/>
              <c:showSerName val="0"/>
              <c:showPercent val="0"/>
              <c:showBubbleSize val="0"/>
            </c:dLbl>
            <c:dLbl>
              <c:idx val="10"/>
              <c:tx>
                <c:rich>
                  <a:bodyPr/>
                  <a:lstStyle/>
                  <a:p>
                    <a:r>
                      <a:t>10.97</a:t>
                    </a:r>
                  </a:p>
                </c:rich>
              </c:tx>
              <c:showLegendKey val="0"/>
              <c:showVal val="1"/>
              <c:showCatName val="0"/>
              <c:showSerName val="0"/>
              <c:showPercent val="0"/>
              <c:showBubbleSize val="0"/>
            </c:dLbl>
            <c:dLbl>
              <c:idx val="11"/>
              <c:tx>
                <c:rich>
                  <a:bodyPr/>
                  <a:lstStyle/>
                  <a:p>
                    <a:r>
                      <a:t>7.27</a:t>
                    </a:r>
                  </a:p>
                </c:rich>
              </c:tx>
              <c:showLegendKey val="0"/>
              <c:showVal val="1"/>
              <c:showCatName val="0"/>
              <c:showSerName val="0"/>
              <c:showPercent val="0"/>
              <c:showBubbleSize val="0"/>
            </c:dLbl>
            <c:dLbl>
              <c:idx val="12"/>
              <c:tx>
                <c:rich>
                  <a:bodyPr/>
                  <a:lstStyle/>
                  <a:p>
                    <a:r>
                      <a:t>7.27</a:t>
                    </a:r>
                  </a:p>
                </c:rich>
              </c:tx>
              <c:showLegendKey val="0"/>
              <c:showVal val="1"/>
              <c:showCatName val="0"/>
              <c:showSerName val="0"/>
              <c:showPercent val="0"/>
              <c:showBubbleSize val="0"/>
            </c:dLbl>
            <c:dLbl>
              <c:idx val="13"/>
              <c:tx>
                <c:rich>
                  <a:bodyPr/>
                  <a:lstStyle/>
                  <a:p>
                    <a:r>
                      <a:t>7.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REMO 5 BLADE REFILL NORMAL 4CT</c:v>
                </c:pt>
                <c:pt idx="1">
                  <c:v>CREMO 5 BLADE RAZOR NORMAL 2CT</c:v>
                </c:pt>
                <c:pt idx="2">
                  <c:v>BIC 3 SENSITIVE 3 BLADE DISPOSABLE NORMAL 12CT</c:v>
                </c:pt>
                <c:pt idx="3">
                  <c:v>BIC COMFORT 3 MULTI COLOR 3 BLADE DISPOSABLE SENSITIVE 4CT</c:v>
                </c:pt>
                <c:pt idx="4">
                  <c:v>BIC EASYRINSE 4 BLADE HYBRID NORMAL 3CT</c:v>
                </c:pt>
                <c:pt idx="5">
                  <c:v>BIC FLEX 3 3 BLADE DISPOSABLE NORMAL 2CT</c:v>
                </c:pt>
                <c:pt idx="6">
                  <c:v>BIC FLEX 4 4 BLADE DISPOSABLE SENSITIVE 3CT</c:v>
                </c:pt>
                <c:pt idx="7">
                  <c:v>BIC FLEX 4 4 BLADE HYBRID NORMAL 4CT</c:v>
                </c:pt>
                <c:pt idx="8">
                  <c:v>BIC FLEX 4 4 BLADE HYBRID SENSITIVE 10CT</c:v>
                </c:pt>
                <c:pt idx="9">
                  <c:v>BIC FLEX 5 5 BLADE HYBRID SENSITIVE 8CT</c:v>
                </c:pt>
                <c:pt idx="10">
                  <c:v>BIC FLEX 5 BLACK WHITE 5 BLADE DISPOSABLE NORMAL 2CT</c:v>
                </c:pt>
                <c:pt idx="11">
                  <c:v>BIC FLEX 5 BLACK WHITE 5 BLADE DISPOSABLE SENSITIVE 2CT</c:v>
                </c:pt>
                <c:pt idx="12">
                  <c:v>BIC FLEX 5 BLACK WHITE 5 BLADE HYBRID SENSITIVE 3CT</c:v>
                </c:pt>
                <c:pt idx="13">
                  <c:v>BIC FLEX 5 HYBRID 5 BLADE HYBRID NORMAL 12CT</c:v>
                </c:pt>
              </c:strCache>
            </c:strRef>
          </c:cat>
          <c:val>
            <c:numRef>
              <c:f>Sheet1!$B$2:$B$16</c:f>
              <c:numCache>
                <c:formatCode>General</c:formatCode>
                <c:ptCount val="15"/>
                <c:pt idx="0">
                  <c:v>14.13</c:v>
                </c:pt>
                <c:pt idx="1">
                  <c:v>14.97</c:v>
                </c:pt>
                <c:pt idx="2">
                  <c:v>11.99</c:v>
                </c:pt>
                <c:pt idx="3">
                  <c:v>11.29</c:v>
                </c:pt>
                <c:pt idx="4">
                  <c:v>4.17</c:v>
                </c:pt>
                <c:pt idx="5">
                  <c:v>6.05</c:v>
                </c:pt>
                <c:pt idx="6">
                  <c:v>5.22</c:v>
                </c:pt>
                <c:pt idx="7">
                  <c:v>6.74</c:v>
                </c:pt>
                <c:pt idx="8">
                  <c:v>6.74</c:v>
                </c:pt>
                <c:pt idx="9">
                  <c:v>10.97</c:v>
                </c:pt>
                <c:pt idx="10">
                  <c:v>10.97</c:v>
                </c:pt>
                <c:pt idx="11">
                  <c:v>7.27</c:v>
                </c:pt>
                <c:pt idx="12">
                  <c:v>7.27</c:v>
                </c:pt>
                <c:pt idx="13">
                  <c:v>7.27</c:v>
                </c:pt>
                <c:pt idx="14">
                  <c:v>2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9.97</a:t>
                    </a:r>
                  </a:p>
                </c:rich>
              </c:tx>
              <c:showLegendKey val="0"/>
              <c:showVal val="1"/>
              <c:showCatName val="0"/>
              <c:showSerName val="0"/>
              <c:showPercent val="0"/>
              <c:showBubbleSize val="0"/>
            </c:dLbl>
            <c:dLbl>
              <c:idx val="2"/>
              <c:tx>
                <c:rich>
                  <a:bodyPr/>
                  <a:lstStyle/>
                  <a:p>
                    <a:r>
                      <a:t>26.97</a:t>
                    </a:r>
                  </a:p>
                </c:rich>
              </c:tx>
              <c:showLegendKey val="0"/>
              <c:showVal val="1"/>
              <c:showCatName val="0"/>
              <c:showSerName val="0"/>
              <c:showPercent val="0"/>
              <c:showBubbleSize val="0"/>
            </c:dLbl>
            <c:dLbl>
              <c:idx val="3"/>
              <c:tx>
                <c:rich>
                  <a:bodyPr/>
                  <a:lstStyle/>
                  <a:p>
                    <a:r>
                      <a:t>9.99</a:t>
                    </a:r>
                  </a:p>
                </c:rich>
              </c:tx>
              <c:showLegendKey val="0"/>
              <c:showVal val="1"/>
              <c:showCatName val="0"/>
              <c:showSerName val="0"/>
              <c:showPercent val="0"/>
              <c:showBubbleSize val="0"/>
            </c:dLbl>
            <c:dLbl>
              <c:idx val="4"/>
              <c:tx>
                <c:rich>
                  <a:bodyPr/>
                  <a:lstStyle/>
                  <a:p>
                    <a:r>
                      <a:t>27.75</a:t>
                    </a:r>
                  </a:p>
                </c:rich>
              </c:tx>
              <c:showLegendKey val="0"/>
              <c:showVal val="1"/>
              <c:showCatName val="0"/>
              <c:showSerName val="0"/>
              <c:showPercent val="0"/>
              <c:showBubbleSize val="0"/>
            </c:dLbl>
            <c:dLbl>
              <c:idx val="5"/>
              <c:tx>
                <c:rich>
                  <a:bodyPr/>
                  <a:lstStyle/>
                  <a:p>
                    <a:r>
                      <a:t>6.05</a:t>
                    </a:r>
                  </a:p>
                </c:rich>
              </c:tx>
              <c:showLegendKey val="0"/>
              <c:showVal val="1"/>
              <c:showCatName val="0"/>
              <c:showSerName val="0"/>
              <c:showPercent val="0"/>
              <c:showBubbleSize val="0"/>
            </c:dLbl>
            <c:dLbl>
              <c:idx val="6"/>
              <c:tx>
                <c:rich>
                  <a:bodyPr/>
                  <a:lstStyle/>
                  <a:p>
                    <a:r>
                      <a:t>6.74</a:t>
                    </a:r>
                  </a:p>
                </c:rich>
              </c:tx>
              <c:showLegendKey val="0"/>
              <c:showVal val="1"/>
              <c:showCatName val="0"/>
              <c:showSerName val="0"/>
              <c:showPercent val="0"/>
              <c:showBubbleSize val="0"/>
            </c:dLbl>
            <c:dLbl>
              <c:idx val="7"/>
              <c:tx>
                <c:rich>
                  <a:bodyPr/>
                  <a:lstStyle/>
                  <a:p>
                    <a:r>
                      <a:t>10.97</a:t>
                    </a:r>
                  </a:p>
                </c:rich>
              </c:tx>
              <c:showLegendKey val="0"/>
              <c:showVal val="1"/>
              <c:showCatName val="0"/>
              <c:showSerName val="0"/>
              <c:showPercent val="0"/>
              <c:showBubbleSize val="0"/>
            </c:dLbl>
            <c:dLbl>
              <c:idx val="8"/>
              <c:tx>
                <c:rich>
                  <a:bodyPr/>
                  <a:lstStyle/>
                  <a:p>
                    <a:r>
                      <a:t>10.97</a:t>
                    </a:r>
                  </a:p>
                </c:rich>
              </c:tx>
              <c:showLegendKey val="0"/>
              <c:showVal val="1"/>
              <c:showCatName val="0"/>
              <c:showSerName val="0"/>
              <c:showPercent val="0"/>
              <c:showBubbleSize val="0"/>
            </c:dLbl>
            <c:dLbl>
              <c:idx val="9"/>
              <c:tx>
                <c:rich>
                  <a:bodyPr/>
                  <a:lstStyle/>
                  <a:p>
                    <a:r>
                      <a:t>7.27</a:t>
                    </a:r>
                  </a:p>
                </c:rich>
              </c:tx>
              <c:showLegendKey val="0"/>
              <c:showVal val="1"/>
              <c:showCatName val="0"/>
              <c:showSerName val="0"/>
              <c:showPercent val="0"/>
              <c:showBubbleSize val="0"/>
            </c:dLbl>
            <c:dLbl>
              <c:idx val="10"/>
              <c:tx>
                <c:rich>
                  <a:bodyPr/>
                  <a:lstStyle/>
                  <a:p>
                    <a:r>
                      <a:t>20.92</a:t>
                    </a:r>
                  </a:p>
                </c:rich>
              </c:tx>
              <c:showLegendKey val="0"/>
              <c:showVal val="1"/>
              <c:showCatName val="0"/>
              <c:showSerName val="0"/>
              <c:showPercent val="0"/>
              <c:showBubbleSize val="0"/>
            </c:dLbl>
            <c:dLbl>
              <c:idx val="11"/>
              <c:tx>
                <c:rich>
                  <a:bodyPr/>
                  <a:lstStyle/>
                  <a:p>
                    <a:r>
                      <a:t>7.27</a:t>
                    </a:r>
                  </a:p>
                </c:rich>
              </c:tx>
              <c:showLegendKey val="0"/>
              <c:showVal val="1"/>
              <c:showCatName val="0"/>
              <c:showSerName val="0"/>
              <c:showPercent val="0"/>
              <c:showBubbleSize val="0"/>
            </c:dLbl>
            <c:dLbl>
              <c:idx val="12"/>
              <c:tx>
                <c:rich>
                  <a:bodyPr/>
                  <a:lstStyle/>
                  <a:p>
                    <a:r>
                      <a:t>10.97</a:t>
                    </a:r>
                  </a:p>
                </c:rich>
              </c:tx>
              <c:showLegendKey val="0"/>
              <c:showVal val="1"/>
              <c:showCatName val="0"/>
              <c:showSerName val="0"/>
              <c:showPercent val="0"/>
              <c:showBubbleSize val="0"/>
            </c:dLbl>
            <c:dLbl>
              <c:idx val="13"/>
              <c:tx>
                <c:rich>
                  <a:bodyPr/>
                  <a:lstStyle/>
                  <a:p>
                    <a:r>
                      <a:t>24.97</a:t>
                    </a:r>
                  </a:p>
                </c:rich>
              </c:tx>
              <c:showLegendKey val="0"/>
              <c:showVal val="1"/>
              <c:showCatName val="0"/>
              <c:showSerName val="0"/>
              <c:showPercent val="0"/>
              <c:showBubbleSize val="0"/>
            </c:dLbl>
            <c:dLbl>
              <c:idx val="14"/>
              <c:tx>
                <c:rich>
                  <a:bodyPr/>
                  <a:lstStyle/>
                  <a:p>
                    <a:r>
                      <a:t>12.2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SCHICK HYDRO 3 SENSITIVE 3 BLADE RAZOR SENSITIVE 4CT</c:v>
                </c:pt>
                <c:pt idx="4">
                  <c:v>HYDRO 5 DRY SKIN 5 BLADE RAZOR DRY 17CT</c:v>
                </c:pt>
                <c:pt idx="5">
                  <c:v>BIC EASYRINSE 4 BLADE HYBRID NORMAL 3CT</c:v>
                </c:pt>
                <c:pt idx="6">
                  <c:v>BIC FLEX 4 4 BLADE HYBRID NORMAL 4CT</c:v>
                </c:pt>
                <c:pt idx="7">
                  <c:v>BIC FLEX 4 4 BLADE HYBRID SENSITIVE 10CT</c:v>
                </c:pt>
                <c:pt idx="8">
                  <c:v>BIC FLEX 5 5 BLADE HYBRID SENSITIVE 8CT</c:v>
                </c:pt>
                <c:pt idx="9">
                  <c:v>BIC FLEX 5 BLACK WHITE 5 BLADE HYBRID SENSITIVE 3CT</c:v>
                </c:pt>
                <c:pt idx="10">
                  <c:v>BIC FLEX 5 HYBRID 5 BLADE HYBRID NORMAL 12CT</c:v>
                </c:pt>
                <c:pt idx="11">
                  <c:v>BIC FLEX 5 HYBRID 5 BLADE HYBRID NORMAL 4CT</c:v>
                </c:pt>
                <c:pt idx="12">
                  <c:v>BIC FLEX 5 HYBRID 5 BLADE HYBRID NORMAL 8CT</c:v>
                </c:pt>
                <c:pt idx="13">
                  <c:v>GILLETTE (ATRA &amp; TRAC) 2 BLADE REFILL NORMAL 10CT</c:v>
                </c:pt>
                <c:pt idx="14">
                  <c:v>GILLETTE FUSION 5 5 BLADE RAZOR NORMAL 1CT</c:v>
                </c:pt>
              </c:strCache>
            </c:strRef>
          </c:cat>
          <c:val>
            <c:numRef>
              <c:f>Sheet1!$B$2:$B$16</c:f>
              <c:numCache>
                <c:formatCode>General</c:formatCode>
                <c:ptCount val="15"/>
                <c:pt idx="0">
                  <c:v>14.97</c:v>
                </c:pt>
                <c:pt idx="1">
                  <c:v>9.97</c:v>
                </c:pt>
                <c:pt idx="2">
                  <c:v>26.97</c:v>
                </c:pt>
                <c:pt idx="3">
                  <c:v>9.99</c:v>
                </c:pt>
                <c:pt idx="4">
                  <c:v>27.75</c:v>
                </c:pt>
                <c:pt idx="5">
                  <c:v>6.05</c:v>
                </c:pt>
                <c:pt idx="6">
                  <c:v>6.74</c:v>
                </c:pt>
                <c:pt idx="7">
                  <c:v>10.97</c:v>
                </c:pt>
                <c:pt idx="8">
                  <c:v>10.97</c:v>
                </c:pt>
                <c:pt idx="9">
                  <c:v>7.27</c:v>
                </c:pt>
                <c:pt idx="10">
                  <c:v>20.92</c:v>
                </c:pt>
                <c:pt idx="11">
                  <c:v>7.27</c:v>
                </c:pt>
                <c:pt idx="12">
                  <c:v>10.97</c:v>
                </c:pt>
                <c:pt idx="13">
                  <c:v>24.97</c:v>
                </c:pt>
                <c:pt idx="14">
                  <c:v>12.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6.05</a:t>
                    </a:r>
                  </a:p>
                </c:rich>
              </c:tx>
              <c:showLegendKey val="0"/>
              <c:showVal val="1"/>
              <c:showCatName val="0"/>
              <c:showSerName val="0"/>
              <c:showPercent val="0"/>
              <c:showBubbleSize val="0"/>
            </c:dLbl>
            <c:dLbl>
              <c:idx val="3"/>
              <c:tx>
                <c:rich>
                  <a:bodyPr/>
                  <a:lstStyle/>
                  <a:p>
                    <a:r>
                      <a:t>6.74</a:t>
                    </a:r>
                  </a:p>
                </c:rich>
              </c:tx>
              <c:showLegendKey val="0"/>
              <c:showVal val="1"/>
              <c:showCatName val="0"/>
              <c:showSerName val="0"/>
              <c:showPercent val="0"/>
              <c:showBubbleSize val="0"/>
            </c:dLbl>
            <c:dLbl>
              <c:idx val="4"/>
              <c:tx>
                <c:rich>
                  <a:bodyPr/>
                  <a:lstStyle/>
                  <a:p>
                    <a:r>
                      <a:t>10.97</a:t>
                    </a:r>
                  </a:p>
                </c:rich>
              </c:tx>
              <c:showLegendKey val="0"/>
              <c:showVal val="1"/>
              <c:showCatName val="0"/>
              <c:showSerName val="0"/>
              <c:showPercent val="0"/>
              <c:showBubbleSize val="0"/>
            </c:dLbl>
            <c:dLbl>
              <c:idx val="5"/>
              <c:tx>
                <c:rich>
                  <a:bodyPr/>
                  <a:lstStyle/>
                  <a:p>
                    <a:r>
                      <a:t>10.97</a:t>
                    </a:r>
                  </a:p>
                </c:rich>
              </c:tx>
              <c:showLegendKey val="0"/>
              <c:showVal val="1"/>
              <c:showCatName val="0"/>
              <c:showSerName val="0"/>
              <c:showPercent val="0"/>
              <c:showBubbleSize val="0"/>
            </c:dLbl>
            <c:dLbl>
              <c:idx val="6"/>
              <c:tx>
                <c:rich>
                  <a:bodyPr/>
                  <a:lstStyle/>
                  <a:p>
                    <a:r>
                      <a:t>7.27</a:t>
                    </a:r>
                  </a:p>
                </c:rich>
              </c:tx>
              <c:showLegendKey val="0"/>
              <c:showVal val="1"/>
              <c:showCatName val="0"/>
              <c:showSerName val="0"/>
              <c:showPercent val="0"/>
              <c:showBubbleSize val="0"/>
            </c:dLbl>
            <c:dLbl>
              <c:idx val="7"/>
              <c:tx>
                <c:rich>
                  <a:bodyPr/>
                  <a:lstStyle/>
                  <a:p>
                    <a:r>
                      <a:t>20.92</a:t>
                    </a:r>
                  </a:p>
                </c:rich>
              </c:tx>
              <c:showLegendKey val="0"/>
              <c:showVal val="1"/>
              <c:showCatName val="0"/>
              <c:showSerName val="0"/>
              <c:showPercent val="0"/>
              <c:showBubbleSize val="0"/>
            </c:dLbl>
            <c:dLbl>
              <c:idx val="8"/>
              <c:tx>
                <c:rich>
                  <a:bodyPr/>
                  <a:lstStyle/>
                  <a:p>
                    <a:r>
                      <a:t>7.27</a:t>
                    </a:r>
                  </a:p>
                </c:rich>
              </c:tx>
              <c:showLegendKey val="0"/>
              <c:showVal val="1"/>
              <c:showCatName val="0"/>
              <c:showSerName val="0"/>
              <c:showPercent val="0"/>
              <c:showBubbleSize val="0"/>
            </c:dLbl>
            <c:dLbl>
              <c:idx val="9"/>
              <c:tx>
                <c:rich>
                  <a:bodyPr/>
                  <a:lstStyle/>
                  <a:p>
                    <a:r>
                      <a:t>10.97</a:t>
                    </a:r>
                  </a:p>
                </c:rich>
              </c:tx>
              <c:showLegendKey val="0"/>
              <c:showVal val="1"/>
              <c:showCatName val="0"/>
              <c:showSerName val="0"/>
              <c:showPercent val="0"/>
              <c:showBubbleSize val="0"/>
            </c:dLbl>
            <c:dLbl>
              <c:idx val="10"/>
              <c:tx>
                <c:rich>
                  <a:bodyPr/>
                  <a:lstStyle/>
                  <a:p>
                    <a:r>
                      <a:t>24.97</a:t>
                    </a:r>
                  </a:p>
                </c:rich>
              </c:tx>
              <c:showLegendKey val="0"/>
              <c:showVal val="1"/>
              <c:showCatName val="0"/>
              <c:showSerName val="0"/>
              <c:showPercent val="0"/>
              <c:showBubbleSize val="0"/>
            </c:dLbl>
            <c:dLbl>
              <c:idx val="11"/>
              <c:tx>
                <c:rich>
                  <a:bodyPr/>
                  <a:lstStyle/>
                  <a:p>
                    <a:r>
                      <a:t>12.25</a:t>
                    </a:r>
                  </a:p>
                </c:rich>
              </c:tx>
              <c:showLegendKey val="0"/>
              <c:showVal val="1"/>
              <c:showCatName val="0"/>
              <c:showSerName val="0"/>
              <c:showPercent val="0"/>
              <c:showBubbleSize val="0"/>
            </c:dLbl>
            <c:dLbl>
              <c:idx val="12"/>
              <c:tx>
                <c:rich>
                  <a:bodyPr/>
                  <a:lstStyle/>
                  <a:p>
                    <a:r>
                      <a:t>13.97</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3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AZOR NORMAL 2CT</c:v>
                </c:pt>
                <c:pt idx="1">
                  <c:v>EQUATE EASY FIT 5 5 BLADE REFILL NORMAL 12CT</c:v>
                </c:pt>
                <c:pt idx="2">
                  <c:v>BIC EASYRINSE 4 BLADE HYBRID NORMAL 3CT</c:v>
                </c:pt>
                <c:pt idx="3">
                  <c:v>BIC FLEX 4 4 BLADE HYBRID NORMAL 4CT</c:v>
                </c:pt>
                <c:pt idx="4">
                  <c:v>BIC FLEX 4 4 BLADE HYBRID SENSITIVE 10CT</c:v>
                </c:pt>
                <c:pt idx="5">
                  <c:v>BIC FLEX 5 5 BLADE HYBRID SENSITIVE 8CT</c:v>
                </c:pt>
                <c:pt idx="6">
                  <c:v>BIC FLEX 5 BLACK WHITE 5 BLADE HYBRID SENSITIVE 3CT</c:v>
                </c:pt>
                <c:pt idx="7">
                  <c:v>BIC FLEX 5 HYBRID 5 BLADE HYBRID NORMAL 12CT</c:v>
                </c:pt>
                <c:pt idx="8">
                  <c:v>BIC FLEX 5 HYBRID 5 BLADE HYBRID NORMAL 4CT</c:v>
                </c:pt>
                <c:pt idx="9">
                  <c:v>BIC FLEX 5 HYBRID 5 BLADE HYBRID NORMAL 8CT</c:v>
                </c:pt>
                <c:pt idx="10">
                  <c:v>GILLETTE (ATRA &amp; TRAC) 2 BLADE REFILL NORMAL 10CT</c:v>
                </c:pt>
                <c:pt idx="11">
                  <c:v>GILLETTE FUSION 5 5 BLADE RAZOR NORMAL 1CT</c:v>
                </c:pt>
                <c:pt idx="12">
                  <c:v>GILLETTE FUSION 5 5 BLADE RAZOR NORMAL 2CT</c:v>
                </c:pt>
                <c:pt idx="13">
                  <c:v>GILLETTE FUSION 5 5 BLADE RAZOR NORMAL 7CT</c:v>
                </c:pt>
                <c:pt idx="14">
                  <c:v>GILLETTE FUSION 5 5 BLADE REFILL NORMAL 12CT</c:v>
                </c:pt>
              </c:strCache>
            </c:strRef>
          </c:cat>
          <c:val>
            <c:numRef>
              <c:f>Sheet1!$B$2:$B$16</c:f>
              <c:numCache>
                <c:formatCode>General</c:formatCode>
                <c:ptCount val="15"/>
                <c:pt idx="0">
                  <c:v>7.97</c:v>
                </c:pt>
                <c:pt idx="1">
                  <c:v>14.97</c:v>
                </c:pt>
                <c:pt idx="2">
                  <c:v>6.05</c:v>
                </c:pt>
                <c:pt idx="3">
                  <c:v>6.74</c:v>
                </c:pt>
                <c:pt idx="4">
                  <c:v>10.97</c:v>
                </c:pt>
                <c:pt idx="5">
                  <c:v>10.97</c:v>
                </c:pt>
                <c:pt idx="6">
                  <c:v>7.27</c:v>
                </c:pt>
                <c:pt idx="7">
                  <c:v>20.92</c:v>
                </c:pt>
                <c:pt idx="8">
                  <c:v>7.27</c:v>
                </c:pt>
                <c:pt idx="9">
                  <c:v>10.97</c:v>
                </c:pt>
                <c:pt idx="10">
                  <c:v>24.97</c:v>
                </c:pt>
                <c:pt idx="11">
                  <c:v>12.25</c:v>
                </c:pt>
                <c:pt idx="12">
                  <c:v>13.97</c:v>
                </c:pt>
                <c:pt idx="13">
                  <c:v>29.97</c:v>
                </c:pt>
                <c:pt idx="14">
                  <c:v>3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3</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1.99</a:t>
                    </a:r>
                  </a:p>
                </c:rich>
              </c:tx>
              <c:showLegendKey val="0"/>
              <c:showVal val="1"/>
              <c:showCatName val="0"/>
              <c:showSerName val="0"/>
              <c:showPercent val="0"/>
              <c:showBubbleSize val="0"/>
            </c:dLbl>
            <c:dLbl>
              <c:idx val="3"/>
              <c:tx>
                <c:rich>
                  <a:bodyPr/>
                  <a:lstStyle/>
                  <a:p>
                    <a:r>
                      <a:t>6.05</a:t>
                    </a:r>
                  </a:p>
                </c:rich>
              </c:tx>
              <c:showLegendKey val="0"/>
              <c:showVal val="1"/>
              <c:showCatName val="0"/>
              <c:showSerName val="0"/>
              <c:showPercent val="0"/>
              <c:showBubbleSize val="0"/>
            </c:dLbl>
            <c:dLbl>
              <c:idx val="4"/>
              <c:tx>
                <c:rich>
                  <a:bodyPr/>
                  <a:lstStyle/>
                  <a:p>
                    <a:r>
                      <a:t>6.74</a:t>
                    </a:r>
                  </a:p>
                </c:rich>
              </c:tx>
              <c:showLegendKey val="0"/>
              <c:showVal val="1"/>
              <c:showCatName val="0"/>
              <c:showSerName val="0"/>
              <c:showPercent val="0"/>
              <c:showBubbleSize val="0"/>
            </c:dLbl>
            <c:dLbl>
              <c:idx val="5"/>
              <c:tx>
                <c:rich>
                  <a:bodyPr/>
                  <a:lstStyle/>
                  <a:p>
                    <a:r>
                      <a:t>10.97</a:t>
                    </a:r>
                  </a:p>
                </c:rich>
              </c:tx>
              <c:showLegendKey val="0"/>
              <c:showVal val="1"/>
              <c:showCatName val="0"/>
              <c:showSerName val="0"/>
              <c:showPercent val="0"/>
              <c:showBubbleSize val="0"/>
            </c:dLbl>
            <c:dLbl>
              <c:idx val="6"/>
              <c:tx>
                <c:rich>
                  <a:bodyPr/>
                  <a:lstStyle/>
                  <a:p>
                    <a:r>
                      <a:t>10.97</a:t>
                    </a:r>
                  </a:p>
                </c:rich>
              </c:tx>
              <c:showLegendKey val="0"/>
              <c:showVal val="1"/>
              <c:showCatName val="0"/>
              <c:showSerName val="0"/>
              <c:showPercent val="0"/>
              <c:showBubbleSize val="0"/>
            </c:dLbl>
            <c:dLbl>
              <c:idx val="7"/>
              <c:tx>
                <c:rich>
                  <a:bodyPr/>
                  <a:lstStyle/>
                  <a:p>
                    <a:r>
                      <a:t>7.27</a:t>
                    </a:r>
                  </a:p>
                </c:rich>
              </c:tx>
              <c:showLegendKey val="0"/>
              <c:showVal val="1"/>
              <c:showCatName val="0"/>
              <c:showSerName val="0"/>
              <c:showPercent val="0"/>
              <c:showBubbleSize val="0"/>
            </c:dLbl>
            <c:dLbl>
              <c:idx val="8"/>
              <c:tx>
                <c:rich>
                  <a:bodyPr/>
                  <a:lstStyle/>
                  <a:p>
                    <a:r>
                      <a:t>20.92</a:t>
                    </a:r>
                  </a:p>
                </c:rich>
              </c:tx>
              <c:showLegendKey val="0"/>
              <c:showVal val="1"/>
              <c:showCatName val="0"/>
              <c:showSerName val="0"/>
              <c:showPercent val="0"/>
              <c:showBubbleSize val="0"/>
            </c:dLbl>
            <c:dLbl>
              <c:idx val="9"/>
              <c:tx>
                <c:rich>
                  <a:bodyPr/>
                  <a:lstStyle/>
                  <a:p>
                    <a:r>
                      <a:t>7.27</a:t>
                    </a:r>
                  </a:p>
                </c:rich>
              </c:tx>
              <c:showLegendKey val="0"/>
              <c:showVal val="1"/>
              <c:showCatName val="0"/>
              <c:showSerName val="0"/>
              <c:showPercent val="0"/>
              <c:showBubbleSize val="0"/>
            </c:dLbl>
            <c:dLbl>
              <c:idx val="10"/>
              <c:tx>
                <c:rich>
                  <a:bodyPr/>
                  <a:lstStyle/>
                  <a:p>
                    <a:r>
                      <a:t>10.97</a:t>
                    </a:r>
                  </a:p>
                </c:rich>
              </c:tx>
              <c:showLegendKey val="0"/>
              <c:showVal val="1"/>
              <c:showCatName val="0"/>
              <c:showSerName val="0"/>
              <c:showPercent val="0"/>
              <c:showBubbleSize val="0"/>
            </c:dLbl>
            <c:dLbl>
              <c:idx val="11"/>
              <c:tx>
                <c:rich>
                  <a:bodyPr/>
                  <a:lstStyle/>
                  <a:p>
                    <a:r>
                      <a:t>24.97</a:t>
                    </a:r>
                  </a:p>
                </c:rich>
              </c:tx>
              <c:showLegendKey val="0"/>
              <c:showVal val="1"/>
              <c:showCatName val="0"/>
              <c:showSerName val="0"/>
              <c:showPercent val="0"/>
              <c:showBubbleSize val="0"/>
            </c:dLbl>
            <c:dLbl>
              <c:idx val="12"/>
              <c:tx>
                <c:rich>
                  <a:bodyPr/>
                  <a:lstStyle/>
                  <a:p>
                    <a:r>
                      <a:t>12.25</a:t>
                    </a:r>
                  </a:p>
                </c:rich>
              </c:tx>
              <c:showLegendKey val="0"/>
              <c:showVal val="1"/>
              <c:showCatName val="0"/>
              <c:showSerName val="0"/>
              <c:showPercent val="0"/>
              <c:showBubbleSize val="0"/>
            </c:dLbl>
            <c:dLbl>
              <c:idx val="13"/>
              <c:tx>
                <c:rich>
                  <a:bodyPr/>
                  <a:lstStyle/>
                  <a:p>
                    <a:r>
                      <a:t>1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REMO 5 BLADE REFILL NORMAL 4CT</c:v>
                </c:pt>
                <c:pt idx="1">
                  <c:v>CREMO 5 BLADE RAZOR NORMAL 2CT</c:v>
                </c:pt>
                <c:pt idx="2">
                  <c:v>BIC EASYRINSE 4 BLADE HYBRID NORMAL 3CT</c:v>
                </c:pt>
                <c:pt idx="3">
                  <c:v>BIC FLEX 4 4 BLADE HYBRID NORMAL 4CT</c:v>
                </c:pt>
                <c:pt idx="4">
                  <c:v>BIC FLEX 4 4 BLADE HYBRID SENSITIVE 10CT</c:v>
                </c:pt>
                <c:pt idx="5">
                  <c:v>BIC FLEX 5 5 BLADE HYBRID SENSITIVE 8CT</c:v>
                </c:pt>
                <c:pt idx="6">
                  <c:v>BIC FLEX 5 BLACK WHITE 5 BLADE HYBRID SENSITIVE 3CT</c:v>
                </c:pt>
                <c:pt idx="7">
                  <c:v>BIC FLEX 5 HYBRID 5 BLADE HYBRID NORMAL 12CT</c:v>
                </c:pt>
                <c:pt idx="8">
                  <c:v>BIC FLEX 5 HYBRID 5 BLADE HYBRID NORMAL 4CT</c:v>
                </c:pt>
                <c:pt idx="9">
                  <c:v>BIC FLEX 5 HYBRID 5 BLADE HYBRID NORMAL 8CT</c:v>
                </c:pt>
                <c:pt idx="10">
                  <c:v>GILLETTE (ATRA &amp; TRAC) 2 BLADE REFILL NORMAL 10CT</c:v>
                </c:pt>
                <c:pt idx="11">
                  <c:v>GILLETTE FUSION 5 5 BLADE RAZOR NORMAL 1CT</c:v>
                </c:pt>
                <c:pt idx="12">
                  <c:v>GILLETTE FUSION 5 5 BLADE RAZOR NORMAL 2CT</c:v>
                </c:pt>
                <c:pt idx="13">
                  <c:v>GILLETTE FUSION 5 5 BLADE RAZOR NORMAL 7CT</c:v>
                </c:pt>
              </c:strCache>
            </c:strRef>
          </c:cat>
          <c:val>
            <c:numRef>
              <c:f>Sheet1!$B$2:$B$16</c:f>
              <c:numCache>
                <c:formatCode>General</c:formatCode>
                <c:ptCount val="15"/>
                <c:pt idx="0">
                  <c:v>14.13</c:v>
                </c:pt>
                <c:pt idx="1">
                  <c:v>14.97</c:v>
                </c:pt>
                <c:pt idx="2">
                  <c:v>11.99</c:v>
                </c:pt>
                <c:pt idx="3">
                  <c:v>6.05</c:v>
                </c:pt>
                <c:pt idx="4">
                  <c:v>6.74</c:v>
                </c:pt>
                <c:pt idx="5">
                  <c:v>10.97</c:v>
                </c:pt>
                <c:pt idx="6">
                  <c:v>10.97</c:v>
                </c:pt>
                <c:pt idx="7">
                  <c:v>7.27</c:v>
                </c:pt>
                <c:pt idx="8">
                  <c:v>20.92</c:v>
                </c:pt>
                <c:pt idx="9">
                  <c:v>7.27</c:v>
                </c:pt>
                <c:pt idx="10">
                  <c:v>10.97</c:v>
                </c:pt>
                <c:pt idx="11">
                  <c:v>24.97</c:v>
                </c:pt>
                <c:pt idx="12">
                  <c:v>12.25</c:v>
                </c:pt>
                <c:pt idx="13">
                  <c:v>13.97</c:v>
                </c:pt>
                <c:pt idx="14">
                  <c:v>29.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78</a:t>
                    </a:r>
                  </a:p>
                </c:rich>
              </c:tx>
              <c:showLegendKey val="0"/>
              <c:showVal val="1"/>
              <c:showCatName val="0"/>
              <c:showSerName val="0"/>
              <c:showPercent val="0"/>
              <c:showBubbleSize val="0"/>
            </c:dLbl>
            <c:dLbl>
              <c:idx val="1"/>
              <c:tx>
                <c:rich>
                  <a:bodyPr/>
                  <a:lstStyle/>
                  <a:p>
                    <a:r>
                      <a:t>6.78</a:t>
                    </a:r>
                  </a:p>
                </c:rich>
              </c:tx>
              <c:showLegendKey val="0"/>
              <c:showVal val="1"/>
              <c:showCatName val="0"/>
              <c:showSerName val="0"/>
              <c:showPercent val="0"/>
              <c:showBubbleSize val="0"/>
            </c:dLbl>
            <c:dLbl>
              <c:idx val="2"/>
              <c:tx>
                <c:rich>
                  <a:bodyPr/>
                  <a:lstStyle/>
                  <a:p>
                    <a:r>
                      <a:t>11.52</a:t>
                    </a:r>
                  </a:p>
                </c:rich>
              </c:tx>
              <c:showLegendKey val="0"/>
              <c:showVal val="1"/>
              <c:showCatName val="0"/>
              <c:showSerName val="0"/>
              <c:showPercent val="0"/>
              <c:showBubbleSize val="0"/>
            </c:dLbl>
            <c:dLbl>
              <c:idx val="3"/>
              <c:tx>
                <c:rich>
                  <a:bodyPr/>
                  <a:lstStyle/>
                  <a:p>
                    <a:r>
                      <a:t>15.72</a:t>
                    </a:r>
                  </a:p>
                </c:rich>
              </c:tx>
              <c:showLegendKey val="0"/>
              <c:showVal val="1"/>
              <c:showCatName val="0"/>
              <c:showSerName val="0"/>
              <c:showPercent val="0"/>
              <c:showBubbleSize val="0"/>
            </c:dLbl>
            <c:dLbl>
              <c:idx val="4"/>
              <c:tx>
                <c:rich>
                  <a:bodyPr/>
                  <a:lstStyle/>
                  <a:p>
                    <a:r>
                      <a:t>6.78</a:t>
                    </a:r>
                  </a:p>
                </c:rich>
              </c:tx>
              <c:showLegendKey val="0"/>
              <c:showVal val="1"/>
              <c:showCatName val="0"/>
              <c:showSerName val="0"/>
              <c:showPercent val="0"/>
              <c:showBubbleSize val="0"/>
            </c:dLbl>
            <c:dLbl>
              <c:idx val="5"/>
              <c:tx>
                <c:rich>
                  <a:bodyPr/>
                  <a:lstStyle/>
                  <a:p>
                    <a:r>
                      <a:t>11.52</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11.29</a:t>
                    </a:r>
                  </a:p>
                </c:rich>
              </c:tx>
              <c:showLegendKey val="0"/>
              <c:showVal val="1"/>
              <c:showCatName val="0"/>
              <c:showSerName val="0"/>
              <c:showPercent val="0"/>
              <c:showBubbleSize val="0"/>
            </c:dLbl>
            <c:dLbl>
              <c:idx val="9"/>
              <c:tx>
                <c:rich>
                  <a:bodyPr/>
                  <a:lstStyle/>
                  <a:p>
                    <a:r>
                      <a:t>4.17</a:t>
                    </a:r>
                  </a:p>
                </c:rich>
              </c:tx>
              <c:showLegendKey val="0"/>
              <c:showVal val="1"/>
              <c:showCatName val="0"/>
              <c:showSerName val="0"/>
              <c:showPercent val="0"/>
              <c:showBubbleSize val="0"/>
            </c:dLbl>
            <c:dLbl>
              <c:idx val="10"/>
              <c:tx>
                <c:rich>
                  <a:bodyPr/>
                  <a:lstStyle/>
                  <a:p>
                    <a:r>
                      <a:t>5.22</a:t>
                    </a:r>
                  </a:p>
                </c:rich>
              </c:tx>
              <c:showLegendKey val="0"/>
              <c:showVal val="1"/>
              <c:showCatName val="0"/>
              <c:showSerName val="0"/>
              <c:showPercent val="0"/>
              <c:showBubbleSize val="0"/>
            </c:dLbl>
            <c:dLbl>
              <c:idx val="11"/>
              <c:tx>
                <c:rich>
                  <a:bodyPr/>
                  <a:lstStyle/>
                  <a:p>
                    <a:r>
                      <a:t>6.74</a:t>
                    </a:r>
                  </a:p>
                </c:rich>
              </c:tx>
              <c:showLegendKey val="0"/>
              <c:showVal val="1"/>
              <c:showCatName val="0"/>
              <c:showSerName val="0"/>
              <c:showPercent val="0"/>
              <c:showBubbleSize val="0"/>
            </c:dLbl>
            <c:dLbl>
              <c:idx val="12"/>
              <c:tx>
                <c:rich>
                  <a:bodyPr/>
                  <a:lstStyle/>
                  <a:p>
                    <a:r>
                      <a:t>7.27</a:t>
                    </a:r>
                  </a:p>
                </c:rich>
              </c:tx>
              <c:showLegendKey val="0"/>
              <c:showVal val="1"/>
              <c:showCatName val="0"/>
              <c:showSerName val="0"/>
              <c:showPercent val="0"/>
              <c:showBubbleSize val="0"/>
            </c:dLbl>
            <c:dLbl>
              <c:idx val="13"/>
              <c:tx>
                <c:rich>
                  <a:bodyPr/>
                  <a:lstStyle/>
                  <a:p>
                    <a:r>
                      <a:t>7.27</a:t>
                    </a:r>
                  </a:p>
                </c:rich>
              </c:tx>
              <c:showLegendKey val="0"/>
              <c:showVal val="1"/>
              <c:showCatName val="0"/>
              <c:showSerName val="0"/>
              <c:showPercent val="0"/>
              <c:showBubbleSize val="0"/>
            </c:dLbl>
            <c:dLbl>
              <c:idx val="14"/>
              <c:tx>
                <c:rich>
                  <a:bodyPr/>
                  <a:lstStyle/>
                  <a:p>
                    <a:r>
                      <a:t>8.3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12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SCHICK XTREME 3 3 BLADE DISPOSABLE SENSITIVE 6CT</c:v>
                </c:pt>
                <c:pt idx="8">
                  <c:v>BIC 3 SENSITIVE 3 BLADE DISPOSABLE NORMAL 12CT</c:v>
                </c:pt>
                <c:pt idx="9">
                  <c:v>BIC COMFORT 3 MULTI COLOR 3 BLADE DISPOSABLE SENSITIVE 4CT</c:v>
                </c:pt>
                <c:pt idx="10">
                  <c:v>BIC FLEX 3 3 BLADE DISPOSABLE NORMAL 2CT</c:v>
                </c:pt>
                <c:pt idx="11">
                  <c:v>BIC FLEX 4 4 BLADE DISPOSABLE SENSITIVE 3CT</c:v>
                </c:pt>
                <c:pt idx="12">
                  <c:v>BIC FLEX 5 BLACK WHITE 5 BLADE DISPOSABLE NORMAL 2CT</c:v>
                </c:pt>
                <c:pt idx="13">
                  <c:v>BIC FLEX 5 BLACK WHITE 5 BLADE DISPOSABLE SENSITIVE 2CT</c:v>
                </c:pt>
                <c:pt idx="14">
                  <c:v>BIC SENSITIVE 2 2 BLADE DISPOSABLE NORMAL 10CT</c:v>
                </c:pt>
              </c:strCache>
            </c:strRef>
          </c:cat>
          <c:val>
            <c:numRef>
              <c:f>Sheet1!$B$2:$B$16</c:f>
              <c:numCache>
                <c:formatCode>General</c:formatCode>
                <c:ptCount val="15"/>
                <c:pt idx="0">
                  <c:v>6.78</c:v>
                </c:pt>
                <c:pt idx="1">
                  <c:v>6.78</c:v>
                </c:pt>
                <c:pt idx="2">
                  <c:v>11.52</c:v>
                </c:pt>
                <c:pt idx="3">
                  <c:v>15.72</c:v>
                </c:pt>
                <c:pt idx="4">
                  <c:v>6.78</c:v>
                </c:pt>
                <c:pt idx="5">
                  <c:v>11.52</c:v>
                </c:pt>
                <c:pt idx="6">
                  <c:v>15.72</c:v>
                </c:pt>
                <c:pt idx="7">
                  <c:v>6.78</c:v>
                </c:pt>
                <c:pt idx="8">
                  <c:v>11.29</c:v>
                </c:pt>
                <c:pt idx="9">
                  <c:v>4.17</c:v>
                </c:pt>
                <c:pt idx="10">
                  <c:v>5.22</c:v>
                </c:pt>
                <c:pt idx="11">
                  <c:v>6.74</c:v>
                </c:pt>
                <c:pt idx="12">
                  <c:v>7.27</c:v>
                </c:pt>
                <c:pt idx="13">
                  <c:v>7.27</c:v>
                </c:pt>
                <c:pt idx="14">
                  <c:v>8.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4</a:t>
                    </a:r>
                  </a:p>
                </c:rich>
              </c:tx>
              <c:showLegendKey val="0"/>
              <c:showVal val="1"/>
              <c:showCatName val="0"/>
              <c:showSerName val="0"/>
              <c:showPercent val="0"/>
              <c:showBubbleSize val="0"/>
            </c:dLbl>
            <c:dLbl>
              <c:idx val="1"/>
              <c:tx>
                <c:rich>
                  <a:bodyPr/>
                  <a:lstStyle/>
                  <a:p>
                    <a:r>
                      <a:t>5.74</a:t>
                    </a:r>
                  </a:p>
                </c:rich>
              </c:tx>
              <c:showLegendKey val="0"/>
              <c:showVal val="1"/>
              <c:showCatName val="0"/>
              <c:showSerName val="0"/>
              <c:showPercent val="0"/>
              <c:showBubbleSize val="0"/>
            </c:dLbl>
            <c:dLbl>
              <c:idx val="2"/>
              <c:tx>
                <c:rich>
                  <a:bodyPr/>
                  <a:lstStyle/>
                  <a:p>
                    <a:r>
                      <a:t>4.16</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8</a:t>
                    </a:r>
                  </a:p>
                </c:rich>
              </c:tx>
              <c:showLegendKey val="0"/>
              <c:showVal val="1"/>
              <c:showCatName val="0"/>
              <c:showSerName val="0"/>
              <c:showPercent val="0"/>
              <c:showBubbleSize val="0"/>
            </c:dLbl>
            <c:dLbl>
              <c:idx val="5"/>
              <c:tx>
                <c:rich>
                  <a:bodyPr/>
                  <a:lstStyle/>
                  <a:p>
                    <a:r>
                      <a:t>1.06</a:t>
                    </a:r>
                  </a:p>
                </c:rich>
              </c:tx>
              <c:showLegendKey val="0"/>
              <c:showVal val="1"/>
              <c:showCatName val="0"/>
              <c:showSerName val="0"/>
              <c:showPercent val="0"/>
              <c:showBubbleSize val="0"/>
            </c:dLbl>
            <c:dLbl>
              <c:idx val="6"/>
              <c:tx>
                <c:rich>
                  <a:bodyPr/>
                  <a:lstStyle/>
                  <a:p>
                    <a:r>
                      <a:t>11.29</a:t>
                    </a:r>
                  </a:p>
                </c:rich>
              </c:tx>
              <c:showLegendKey val="0"/>
              <c:showVal val="1"/>
              <c:showCatName val="0"/>
              <c:showSerName val="0"/>
              <c:showPercent val="0"/>
              <c:showBubbleSize val="0"/>
            </c:dLbl>
            <c:dLbl>
              <c:idx val="7"/>
              <c:tx>
                <c:rich>
                  <a:bodyPr/>
                  <a:lstStyle/>
                  <a:p>
                    <a:r>
                      <a:t>4.17</a:t>
                    </a:r>
                  </a:p>
                </c:rich>
              </c:tx>
              <c:showLegendKey val="0"/>
              <c:showVal val="1"/>
              <c:showCatName val="0"/>
              <c:showSerName val="0"/>
              <c:showPercent val="0"/>
              <c:showBubbleSize val="0"/>
            </c:dLbl>
            <c:dLbl>
              <c:idx val="8"/>
              <c:tx>
                <c:rich>
                  <a:bodyPr/>
                  <a:lstStyle/>
                  <a:p>
                    <a:r>
                      <a:t>5.22</a:t>
                    </a:r>
                  </a:p>
                </c:rich>
              </c:tx>
              <c:showLegendKey val="0"/>
              <c:showVal val="1"/>
              <c:showCatName val="0"/>
              <c:showSerName val="0"/>
              <c:showPercent val="0"/>
              <c:showBubbleSize val="0"/>
            </c:dLbl>
            <c:dLbl>
              <c:idx val="9"/>
              <c:tx>
                <c:rich>
                  <a:bodyPr/>
                  <a:lstStyle/>
                  <a:p>
                    <a:r>
                      <a:t>6.74</a:t>
                    </a:r>
                  </a:p>
                </c:rich>
              </c:tx>
              <c:showLegendKey val="0"/>
              <c:showVal val="1"/>
              <c:showCatName val="0"/>
              <c:showSerName val="0"/>
              <c:showPercent val="0"/>
              <c:showBubbleSize val="0"/>
            </c:dLbl>
            <c:dLbl>
              <c:idx val="10"/>
              <c:tx>
                <c:rich>
                  <a:bodyPr/>
                  <a:lstStyle/>
                  <a:p>
                    <a:r>
                      <a:t>7.27</a:t>
                    </a:r>
                  </a:p>
                </c:rich>
              </c:tx>
              <c:showLegendKey val="0"/>
              <c:showVal val="1"/>
              <c:showCatName val="0"/>
              <c:showSerName val="0"/>
              <c:showPercent val="0"/>
              <c:showBubbleSize val="0"/>
            </c:dLbl>
            <c:dLbl>
              <c:idx val="11"/>
              <c:tx>
                <c:rich>
                  <a:bodyPr/>
                  <a:lstStyle/>
                  <a:p>
                    <a:r>
                      <a:t>7.27</a:t>
                    </a:r>
                  </a:p>
                </c:rich>
              </c:tx>
              <c:showLegendKey val="0"/>
              <c:showVal val="1"/>
              <c:showCatName val="0"/>
              <c:showSerName val="0"/>
              <c:showPercent val="0"/>
              <c:showBubbleSize val="0"/>
            </c:dLbl>
            <c:dLbl>
              <c:idx val="12"/>
              <c:tx>
                <c:rich>
                  <a:bodyPr/>
                  <a:lstStyle/>
                  <a:p>
                    <a:r>
                      <a:t>8.34</a:t>
                    </a:r>
                  </a:p>
                </c:rich>
              </c:tx>
              <c:showLegendKey val="0"/>
              <c:showVal val="1"/>
              <c:showCatName val="0"/>
              <c:showSerName val="0"/>
              <c:showPercent val="0"/>
              <c:showBubbleSize val="0"/>
            </c:dLbl>
            <c:dLbl>
              <c:idx val="13"/>
              <c:tx>
                <c:rich>
                  <a:bodyPr/>
                  <a:lstStyle/>
                  <a:p>
                    <a:r>
                      <a:t>9.59</a:t>
                    </a:r>
                  </a:p>
                </c:rich>
              </c:tx>
              <c:showLegendKey val="0"/>
              <c:showVal val="1"/>
              <c:showCatName val="0"/>
              <c:showSerName val="0"/>
              <c:showPercent val="0"/>
              <c:showBubbleSize val="0"/>
            </c:dLbl>
            <c:dLbl>
              <c:idx val="14"/>
              <c:tx>
                <c:rich>
                  <a:bodyPr/>
                  <a:lstStyle/>
                  <a:p>
                    <a:r>
                      <a:t>5.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12CT</c:v>
                </c:pt>
                <c:pt idx="5">
                  <c:v>EQUATE TB (TWIN BLADE) BLUE 2 BLADE DISPOSABLE NORMAL 5CT</c:v>
                </c:pt>
                <c:pt idx="6">
                  <c:v>BIC 3 SENSITIVE 3 BLADE DISPOSABLE NORMAL 12CT</c:v>
                </c:pt>
                <c:pt idx="7">
                  <c:v>BIC COMFORT 3 MULTI COLOR 3 BLADE DISPOSABLE SENSITIVE 4CT</c:v>
                </c:pt>
                <c:pt idx="8">
                  <c:v>BIC FLEX 3 3 BLADE DISPOSABLE NORMAL 2CT</c:v>
                </c:pt>
                <c:pt idx="9">
                  <c:v>BIC FLEX 4 4 BLADE DISPOSABLE SENSITIVE 3CT</c:v>
                </c:pt>
                <c:pt idx="10">
                  <c:v>BIC FLEX 5 BLACK WHITE 5 BLADE DISPOSABLE NORMAL 2CT</c:v>
                </c:pt>
                <c:pt idx="11">
                  <c:v>BIC FLEX 5 BLACK WHITE 5 BLADE DISPOSABLE SENSITIVE 2CT</c:v>
                </c:pt>
                <c:pt idx="12">
                  <c:v>BIC SENSITIVE 2 2 BLADE DISPOSABLE NORMAL 10CT</c:v>
                </c:pt>
                <c:pt idx="13">
                  <c:v>BIC SENSITIVE 2 2 BLADE DISPOSABLE NORMAL 18CT</c:v>
                </c:pt>
                <c:pt idx="14">
                  <c:v>BIC SENSITIVE 2 2 BLADE DISPOSABLE NORMAL 8CT</c:v>
                </c:pt>
              </c:strCache>
            </c:strRef>
          </c:cat>
          <c:val>
            <c:numRef>
              <c:f>Sheet1!$B$2:$B$16</c:f>
              <c:numCache>
                <c:formatCode>General</c:formatCode>
                <c:ptCount val="15"/>
                <c:pt idx="0">
                  <c:v>4.34</c:v>
                </c:pt>
                <c:pt idx="1">
                  <c:v>5.74</c:v>
                </c:pt>
                <c:pt idx="2">
                  <c:v>4.16</c:v>
                </c:pt>
                <c:pt idx="3">
                  <c:v>5.98</c:v>
                </c:pt>
                <c:pt idx="4">
                  <c:v>2.08</c:v>
                </c:pt>
                <c:pt idx="5">
                  <c:v>1.06</c:v>
                </c:pt>
                <c:pt idx="6">
                  <c:v>11.29</c:v>
                </c:pt>
                <c:pt idx="7">
                  <c:v>4.17</c:v>
                </c:pt>
                <c:pt idx="8">
                  <c:v>5.22</c:v>
                </c:pt>
                <c:pt idx="9">
                  <c:v>6.74</c:v>
                </c:pt>
                <c:pt idx="10">
                  <c:v>7.27</c:v>
                </c:pt>
                <c:pt idx="11">
                  <c:v>7.27</c:v>
                </c:pt>
                <c:pt idx="12">
                  <c:v>8.34</c:v>
                </c:pt>
                <c:pt idx="13">
                  <c:v>9.59</c:v>
                </c:pt>
                <c:pt idx="14">
                  <c:v>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27.75</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12.25</a:t>
                    </a:r>
                  </a:p>
                </c:rich>
              </c:tx>
              <c:showLegendKey val="0"/>
              <c:showVal val="1"/>
              <c:showCatName val="0"/>
              <c:showSerName val="0"/>
              <c:showPercent val="0"/>
              <c:showBubbleSize val="0"/>
            </c:dLbl>
            <c:dLbl>
              <c:idx val="5"/>
              <c:tx>
                <c:rich>
                  <a:bodyPr/>
                  <a:lstStyle/>
                  <a:p>
                    <a:r>
                      <a:t>13.97</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13.97</a:t>
                    </a:r>
                  </a:p>
                </c:rich>
              </c:tx>
              <c:showLegendKey val="0"/>
              <c:showVal val="1"/>
              <c:showCatName val="0"/>
              <c:showSerName val="0"/>
              <c:showPercent val="0"/>
              <c:showBubbleSize val="0"/>
            </c:dLbl>
            <c:dLbl>
              <c:idx val="8"/>
              <c:tx>
                <c:rich>
                  <a:bodyPr/>
                  <a:lstStyle/>
                  <a:p>
                    <a:r>
                      <a:t>16.97</a:t>
                    </a:r>
                  </a:p>
                </c:rich>
              </c:tx>
              <c:showLegendKey val="0"/>
              <c:showVal val="1"/>
              <c:showCatName val="0"/>
              <c:showSerName val="0"/>
              <c:showPercent val="0"/>
              <c:showBubbleSize val="0"/>
            </c:dLbl>
            <c:dLbl>
              <c:idx val="9"/>
              <c:tx>
                <c:rich>
                  <a:bodyPr/>
                  <a:lstStyle/>
                  <a:p>
                    <a:r>
                      <a:t>29.97</a:t>
                    </a:r>
                  </a:p>
                </c:rich>
              </c:tx>
              <c:showLegendKey val="0"/>
              <c:showVal val="1"/>
              <c:showCatName val="0"/>
              <c:showSerName val="0"/>
              <c:showPercent val="0"/>
              <c:showBubbleSize val="0"/>
            </c:dLbl>
            <c:dLbl>
              <c:idx val="10"/>
              <c:tx>
                <c:rich>
                  <a:bodyPr/>
                  <a:lstStyle/>
                  <a:p>
                    <a:r>
                      <a:t>16.97</a:t>
                    </a:r>
                  </a:p>
                </c:rich>
              </c:tx>
              <c:showLegendKey val="0"/>
              <c:showVal val="1"/>
              <c:showCatName val="0"/>
              <c:showSerName val="0"/>
              <c:showPercent val="0"/>
              <c:showBubbleSize val="0"/>
            </c:dLbl>
            <c:dLbl>
              <c:idx val="11"/>
              <c:tx>
                <c:rich>
                  <a:bodyPr/>
                  <a:lstStyle/>
                  <a:p>
                    <a:r>
                      <a:t>45.67</a:t>
                    </a:r>
                  </a:p>
                </c:rich>
              </c:tx>
              <c:showLegendKey val="0"/>
              <c:showVal val="1"/>
              <c:showCatName val="0"/>
              <c:showSerName val="0"/>
              <c:showPercent val="0"/>
              <c:showBubbleSize val="0"/>
            </c:dLbl>
            <c:dLbl>
              <c:idx val="12"/>
              <c:tx>
                <c:rich>
                  <a:bodyPr/>
                  <a:lstStyle/>
                  <a:p>
                    <a:r>
                      <a:t>13.97</a:t>
                    </a:r>
                  </a:p>
                </c:rich>
              </c:tx>
              <c:showLegendKey val="0"/>
              <c:showVal val="1"/>
              <c:showCatName val="0"/>
              <c:showSerName val="0"/>
              <c:showPercent val="0"/>
              <c:showBubbleSize val="0"/>
            </c:dLbl>
            <c:dLbl>
              <c:idx val="13"/>
              <c:tx>
                <c:rich>
                  <a:bodyPr/>
                  <a:lstStyle/>
                  <a:p>
                    <a:r>
                      <a:t>17.9</a:t>
                    </a:r>
                  </a:p>
                </c:rich>
              </c:tx>
              <c:showLegendKey val="0"/>
              <c:showVal val="1"/>
              <c:showCatName val="0"/>
              <c:showSerName val="0"/>
              <c:showPercent val="0"/>
              <c:showBubbleSize val="0"/>
            </c:dLbl>
            <c:dLbl>
              <c:idx val="14"/>
              <c:tx>
                <c:rich>
                  <a:bodyPr/>
                  <a:lstStyle/>
                  <a:p>
                    <a:r>
                      <a:t>17.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SCHICK HYDRO 3 SENSITIVE 3 BLADE RAZOR SENSITIVE 4CT</c:v>
                </c:pt>
                <c:pt idx="2">
                  <c:v>HYDRO 5 DRY SKIN 5 BLADE RAZOR DRY 17CT</c:v>
                </c:pt>
                <c:pt idx="3">
                  <c:v>DOLLAR SHAVE CLUB BLACK 6 BLADE RAZOR NORMAL 2CT</c:v>
                </c:pt>
                <c:pt idx="4">
                  <c:v>GILLETTE FUSION 5 5 BLADE RAZOR NORMAL 1CT</c:v>
                </c:pt>
                <c:pt idx="5">
                  <c:v>GILLETTE FUSION 5 5 BLADE RAZOR NORMAL 2CT</c:v>
                </c:pt>
                <c:pt idx="6">
                  <c:v>GILLETTE FUSION 5 5 BLADE RAZOR NORMAL 7CT</c:v>
                </c:pt>
                <c:pt idx="7">
                  <c:v>GILLETTE FUSION 5 PROGLIDE 5 BLADE RAZOR NORMAL 1CT</c:v>
                </c:pt>
                <c:pt idx="8">
                  <c:v>GILLETTE FUSION 5 PROGLIDE 5 BLADE RAZOR NORMAL 2CT</c:v>
                </c:pt>
                <c:pt idx="9">
                  <c:v>GILLETTE FUSION 5 PROGLIDE STYLER REM BLADES RAZOR 1CT</c:v>
                </c:pt>
                <c:pt idx="10">
                  <c:v>GILLETTE FUSION 5 PROSHIELD 5 BLADE RAZOR NORMAL 1CT</c:v>
                </c:pt>
                <c:pt idx="11">
                  <c:v>GILLETTE FUSION 5 PROSHIELD 5 BLADE RAZOR NORMAL 8CT</c:v>
                </c:pt>
                <c:pt idx="12">
                  <c:v>GILLETTE FUSION 5 PROSHIELD GRAY 5 BLADE RAZOR NORMAL 2CT</c:v>
                </c:pt>
                <c:pt idx="13">
                  <c:v>GILLETTE INTIMATE BLACK 5 BLADE RAZOR NORMAL 2CT</c:v>
                </c:pt>
                <c:pt idx="14">
                  <c:v>GILLETTE LABS 5 BLADE RAZOR NORMAL 1CT</c:v>
                </c:pt>
              </c:strCache>
            </c:strRef>
          </c:cat>
          <c:val>
            <c:numRef>
              <c:f>Sheet1!$B$2:$B$16</c:f>
              <c:numCache>
                <c:formatCode>General</c:formatCode>
                <c:ptCount val="15"/>
                <c:pt idx="0">
                  <c:v>9.97</c:v>
                </c:pt>
                <c:pt idx="1">
                  <c:v>9.99</c:v>
                </c:pt>
                <c:pt idx="2">
                  <c:v>27.75</c:v>
                </c:pt>
                <c:pt idx="3">
                  <c:v>8.97</c:v>
                </c:pt>
                <c:pt idx="4">
                  <c:v>12.25</c:v>
                </c:pt>
                <c:pt idx="5">
                  <c:v>13.97</c:v>
                </c:pt>
                <c:pt idx="6">
                  <c:v>29.97</c:v>
                </c:pt>
                <c:pt idx="7">
                  <c:v>13.97</c:v>
                </c:pt>
                <c:pt idx="8">
                  <c:v>16.97</c:v>
                </c:pt>
                <c:pt idx="9">
                  <c:v>29.97</c:v>
                </c:pt>
                <c:pt idx="10">
                  <c:v>16.97</c:v>
                </c:pt>
                <c:pt idx="11">
                  <c:v>45.67</c:v>
                </c:pt>
                <c:pt idx="12">
                  <c:v>13.97</c:v>
                </c:pt>
                <c:pt idx="13">
                  <c:v>17.9</c:v>
                </c:pt>
                <c:pt idx="14">
                  <c:v>17.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2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Manual Shave Men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51456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3">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STYLER REM BLADES RAZOR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GRAY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BLACK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808517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STYLER REM BLADES RAZOR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GRAY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BLACK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187225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1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74808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1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14600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1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73086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Manual Shave Men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154377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ULLDOG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HYBRID 3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182957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34205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228053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ULLDOG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35289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Manual Shave Men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60431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Manual Shave Men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97400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31159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883457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EASYRINSE 4 BLADE HYBRID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HYBRID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41790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88268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3 SENSITIVE 3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77100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STYLER REM BLADES RAZOR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GRAY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INTIMATE BLACK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39791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774</Words>
  <Application>Microsoft Office PowerPoint</Application>
  <PresentationFormat>On-screen Show (16:9)</PresentationFormat>
  <Paragraphs>1406</Paragraphs>
  <Slides>1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ptos</vt:lpstr>
      <vt:lpstr>Arial</vt:lpstr>
      <vt:lpstr>Nexa</vt:lpstr>
      <vt:lpstr>Nexa Bold</vt:lpstr>
      <vt:lpstr>Nexa Book</vt:lpstr>
      <vt:lpstr>Nexa Book Italic</vt:lpstr>
      <vt:lpstr>Open Sans</vt:lpstr>
      <vt:lpstr>PricingOne Light Template Oct 2024</vt:lpstr>
      <vt:lpstr>think-cell Slide</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7-29T11:5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